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648" r:id="rId1"/>
  </p:sldMasterIdLst>
  <p:notesMasterIdLst>
    <p:notesMasterId r:id="rId10"/>
  </p:notesMasterIdLst>
  <p:sldIdLst>
    <p:sldId id="256" r:id="rId2"/>
    <p:sldId id="260" r:id="rId3"/>
    <p:sldId id="258" r:id="rId4"/>
    <p:sldId id="259" r:id="rId5"/>
    <p:sldId id="1619" r:id="rId6"/>
    <p:sldId id="1606" r:id="rId7"/>
    <p:sldId id="1617" r:id="rId8"/>
    <p:sldId id="1618" r:id="rId9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26D"/>
    <a:srgbClr val="007AD7"/>
    <a:srgbClr val="DBDBDB"/>
    <a:srgbClr val="00BAFF"/>
    <a:srgbClr val="F7F9F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1717" autoAdjust="0"/>
    <p:restoredTop sz="94694"/>
  </p:normalViewPr>
  <p:slideViewPr>
    <p:cSldViewPr snapToGrid="0" snapToObjects="1">
      <p:cViewPr varScale="1">
        <p:scale>
          <a:sx n="115" d="100"/>
          <a:sy n="115" d="100"/>
        </p:scale>
        <p:origin x="372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tableStyles" Target="tableStyle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BD1278F7-A04D-4475-9B22-A516B0233835}" type="doc">
      <dgm:prSet loTypeId="urn:microsoft.com/office/officeart/2005/8/layout/hierarchy6" loCatId="hierarchy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s-IS"/>
        </a:p>
      </dgm:t>
    </dgm:pt>
    <dgm:pt modelId="{4271975F-AABC-45CA-84CF-000EE8932E7B}">
      <dgm:prSet phldrT="[Text]"/>
      <dgm:spPr>
        <a:solidFill>
          <a:schemeClr val="tx1">
            <a:lumMod val="60000"/>
            <a:lumOff val="40000"/>
          </a:schemeClr>
        </a:solidFill>
      </dgm:spPr>
      <dgm:t>
        <a:bodyPr/>
        <a:lstStyle/>
        <a:p>
          <a:r>
            <a:rPr lang="en-GB" dirty="0"/>
            <a:t>PEPPOL international invoice model</a:t>
          </a:r>
          <a:endParaRPr lang="is-IS" dirty="0"/>
        </a:p>
      </dgm:t>
    </dgm:pt>
    <dgm:pt modelId="{0F90A23A-EBF2-41C7-BB9C-067A8A829A03}" type="parTrans" cxnId="{76E9636E-BC0B-4AB9-A203-2C23226BD11F}">
      <dgm:prSet/>
      <dgm:spPr/>
      <dgm:t>
        <a:bodyPr/>
        <a:lstStyle/>
        <a:p>
          <a:endParaRPr lang="is-IS"/>
        </a:p>
      </dgm:t>
    </dgm:pt>
    <dgm:pt modelId="{1BD5B31C-F069-4799-8017-2BBEE103449E}" type="sibTrans" cxnId="{76E9636E-BC0B-4AB9-A203-2C23226BD11F}">
      <dgm:prSet/>
      <dgm:spPr/>
      <dgm:t>
        <a:bodyPr/>
        <a:lstStyle/>
        <a:p>
          <a:endParaRPr lang="is-IS"/>
        </a:p>
      </dgm:t>
    </dgm:pt>
    <dgm:pt modelId="{08E87FCB-A308-4B4F-8E47-8BB394B9D870}">
      <dgm:prSet phldrT="[Text]"/>
      <dgm:spPr>
        <a:solidFill>
          <a:srgbClr val="00B050"/>
        </a:solidFill>
      </dgm:spPr>
      <dgm:t>
        <a:bodyPr/>
        <a:lstStyle/>
        <a:p>
          <a:r>
            <a:rPr lang="en-GB" dirty="0"/>
            <a:t>EN 16931</a:t>
          </a:r>
          <a:endParaRPr lang="is-IS" dirty="0"/>
        </a:p>
      </dgm:t>
    </dgm:pt>
    <dgm:pt modelId="{195B9CC4-E491-4DD1-B941-D88C928AAC07}" type="parTrans" cxnId="{55CC94C8-2410-40ED-9AD9-00C2F43792B6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11F4FFBA-F857-4A88-B541-B858E10CB705}" type="sibTrans" cxnId="{55CC94C8-2410-40ED-9AD9-00C2F43792B6}">
      <dgm:prSet/>
      <dgm:spPr/>
      <dgm:t>
        <a:bodyPr/>
        <a:lstStyle/>
        <a:p>
          <a:endParaRPr lang="is-IS"/>
        </a:p>
      </dgm:t>
    </dgm:pt>
    <dgm:pt modelId="{A1A1D94A-E359-430D-B216-B987992CB6BD}">
      <dgm:prSet phldrT="[Text]"/>
      <dgm:spPr/>
      <dgm:t>
        <a:bodyPr/>
        <a:lstStyle/>
        <a:p>
          <a:r>
            <a:rPr lang="en-GB" dirty="0"/>
            <a:t>PEPPOL BIS Billing 3.0</a:t>
          </a:r>
          <a:endParaRPr lang="is-IS" dirty="0"/>
        </a:p>
      </dgm:t>
    </dgm:pt>
    <dgm:pt modelId="{3E865C7B-EB84-4083-B4AB-D9F9C0AB91CC}" type="parTrans" cxnId="{3990C179-AD2C-40D5-91DF-C86F1D44695D}">
      <dgm:prSet/>
      <dgm:spPr>
        <a:ln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26765869-F214-4FC6-8E35-EEE23A15E97F}" type="sibTrans" cxnId="{3990C179-AD2C-40D5-91DF-C86F1D44695D}">
      <dgm:prSet/>
      <dgm:spPr/>
      <dgm:t>
        <a:bodyPr/>
        <a:lstStyle/>
        <a:p>
          <a:endParaRPr lang="is-IS"/>
        </a:p>
      </dgm:t>
    </dgm:pt>
    <dgm:pt modelId="{EEA852BC-B2CF-4939-9BAC-821185449E2C}">
      <dgm:prSet phldrT="[Text]"/>
      <dgm:spPr/>
      <dgm:t>
        <a:bodyPr/>
        <a:lstStyle/>
        <a:p>
          <a:r>
            <a:rPr lang="en-GB" dirty="0"/>
            <a:t>Spanish </a:t>
          </a:r>
          <a:r>
            <a:rPr lang="en-GB" dirty="0" err="1"/>
            <a:t>facturae</a:t>
          </a:r>
          <a:endParaRPr lang="is-IS" dirty="0"/>
        </a:p>
      </dgm:t>
    </dgm:pt>
    <dgm:pt modelId="{CEFC5039-1661-41C1-8194-82DCD8B50375}" type="parTrans" cxnId="{D40D376F-938E-4926-A8D0-D89F4A6256E3}">
      <dgm:prSet/>
      <dgm:spPr>
        <a:ln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6FA3C847-8206-40A4-8F6A-5F74990F71AF}" type="sibTrans" cxnId="{D40D376F-938E-4926-A8D0-D89F4A6256E3}">
      <dgm:prSet/>
      <dgm:spPr/>
      <dgm:t>
        <a:bodyPr/>
        <a:lstStyle/>
        <a:p>
          <a:endParaRPr lang="is-IS"/>
        </a:p>
      </dgm:t>
    </dgm:pt>
    <dgm:pt modelId="{CCAB3B6E-E28D-478E-9958-55EC2CA60A57}">
      <dgm:prSet phldrT="[Text]"/>
      <dgm:spPr/>
      <dgm:t>
        <a:bodyPr/>
        <a:lstStyle/>
        <a:p>
          <a:r>
            <a:rPr lang="en-GB" dirty="0" err="1"/>
            <a:t>TransTasman</a:t>
          </a:r>
          <a:endParaRPr lang="is-IS" dirty="0"/>
        </a:p>
      </dgm:t>
    </dgm:pt>
    <dgm:pt modelId="{9710E577-41A6-4DE8-8530-A5429A8D27A2}" type="parTrans" cxnId="{C9EC68CE-D23E-4AF2-BA9C-357CAEBDE536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2E9EEEFB-9004-4C3D-ABB1-02BBD3E16456}" type="sibTrans" cxnId="{C9EC68CE-D23E-4AF2-BA9C-357CAEBDE536}">
      <dgm:prSet/>
      <dgm:spPr/>
      <dgm:t>
        <a:bodyPr/>
        <a:lstStyle/>
        <a:p>
          <a:endParaRPr lang="is-IS"/>
        </a:p>
      </dgm:t>
    </dgm:pt>
    <dgm:pt modelId="{F1D42D8F-57B6-400F-B278-DE9B7664CAD4}">
      <dgm:prSet phldrT="[Text]"/>
      <dgm:spPr/>
      <dgm:t>
        <a:bodyPr/>
        <a:lstStyle/>
        <a:p>
          <a:r>
            <a:rPr lang="en-GB" dirty="0"/>
            <a:t>International model</a:t>
          </a:r>
          <a:endParaRPr lang="is-IS" dirty="0"/>
        </a:p>
      </dgm:t>
    </dgm:pt>
    <dgm:pt modelId="{38AF3D0C-4A06-4201-A837-1D3CDAE5139A}" type="parTrans" cxnId="{B1FEA1EB-96C8-4EC7-9269-24DF2BF28CEF}">
      <dgm:prSet/>
      <dgm:spPr/>
      <dgm:t>
        <a:bodyPr/>
        <a:lstStyle/>
        <a:p>
          <a:endParaRPr lang="is-IS"/>
        </a:p>
      </dgm:t>
    </dgm:pt>
    <dgm:pt modelId="{C24ED4BF-C344-45E5-9ECD-70FAAD170B46}" type="sibTrans" cxnId="{B1FEA1EB-96C8-4EC7-9269-24DF2BF28CEF}">
      <dgm:prSet/>
      <dgm:spPr/>
      <dgm:t>
        <a:bodyPr/>
        <a:lstStyle/>
        <a:p>
          <a:endParaRPr lang="is-IS"/>
        </a:p>
      </dgm:t>
    </dgm:pt>
    <dgm:pt modelId="{4A914034-5E0F-4876-AAA0-33DD1D8D307F}">
      <dgm:prSet phldrT="[Text]"/>
      <dgm:spPr/>
      <dgm:t>
        <a:bodyPr/>
        <a:lstStyle/>
        <a:p>
          <a:r>
            <a:rPr lang="en-GB" dirty="0"/>
            <a:t>Invoice domain specifications</a:t>
          </a:r>
          <a:endParaRPr lang="is-IS" dirty="0"/>
        </a:p>
      </dgm:t>
    </dgm:pt>
    <dgm:pt modelId="{73D8D2B1-2191-48B3-B1F1-90F29C2AF920}" type="parTrans" cxnId="{24AE943A-4940-44D0-881D-CD82F8AC1E1B}">
      <dgm:prSet/>
      <dgm:spPr/>
      <dgm:t>
        <a:bodyPr/>
        <a:lstStyle/>
        <a:p>
          <a:endParaRPr lang="is-IS"/>
        </a:p>
      </dgm:t>
    </dgm:pt>
    <dgm:pt modelId="{E2B73278-6752-4449-8555-876C9A0A170A}" type="sibTrans" cxnId="{24AE943A-4940-44D0-881D-CD82F8AC1E1B}">
      <dgm:prSet/>
      <dgm:spPr/>
      <dgm:t>
        <a:bodyPr/>
        <a:lstStyle/>
        <a:p>
          <a:endParaRPr lang="is-IS"/>
        </a:p>
      </dgm:t>
    </dgm:pt>
    <dgm:pt modelId="{F0ADC1CA-8CA0-43BB-A3FB-F0AC89B8EA33}">
      <dgm:prSet phldrT="[Text]"/>
      <dgm:spPr/>
      <dgm:t>
        <a:bodyPr/>
        <a:lstStyle/>
        <a:p>
          <a:r>
            <a:rPr lang="en-GB" dirty="0"/>
            <a:t>Implementation specific</a:t>
          </a:r>
          <a:endParaRPr lang="is-IS" dirty="0"/>
        </a:p>
      </dgm:t>
    </dgm:pt>
    <dgm:pt modelId="{08F0EEEE-0570-4659-A4EC-20DAE43AF49F}" type="parTrans" cxnId="{42C36835-5827-4224-9AD4-E79BAEE7A7D8}">
      <dgm:prSet/>
      <dgm:spPr/>
      <dgm:t>
        <a:bodyPr/>
        <a:lstStyle/>
        <a:p>
          <a:endParaRPr lang="is-IS"/>
        </a:p>
      </dgm:t>
    </dgm:pt>
    <dgm:pt modelId="{C3D2D1E3-3DCC-4E06-9F08-1277915F6449}" type="sibTrans" cxnId="{42C36835-5827-4224-9AD4-E79BAEE7A7D8}">
      <dgm:prSet/>
      <dgm:spPr/>
      <dgm:t>
        <a:bodyPr/>
        <a:lstStyle/>
        <a:p>
          <a:endParaRPr lang="is-IS"/>
        </a:p>
      </dgm:t>
    </dgm:pt>
    <dgm:pt modelId="{C2F0188C-9396-4489-8CAA-6723F99E4C8E}">
      <dgm:prSet phldrT="[Text]"/>
      <dgm:spPr/>
      <dgm:t>
        <a:bodyPr/>
        <a:lstStyle/>
        <a:p>
          <a:r>
            <a:rPr lang="en-GB" dirty="0"/>
            <a:t>Singapore</a:t>
          </a:r>
          <a:endParaRPr lang="is-IS" dirty="0"/>
        </a:p>
      </dgm:t>
    </dgm:pt>
    <dgm:pt modelId="{E1F5C2D9-6225-4C12-A302-1C647EF0A30E}" type="parTrans" cxnId="{35FF5AA3-3B3E-4D5A-801B-277DEF8C149A}">
      <dgm:prSet/>
      <dgm:spPr>
        <a:ln>
          <a:solidFill>
            <a:srgbClr val="FFC000"/>
          </a:solidFill>
          <a:headEnd type="arrow"/>
          <a:tailEnd type="none"/>
        </a:ln>
      </dgm:spPr>
      <dgm:t>
        <a:bodyPr/>
        <a:lstStyle/>
        <a:p>
          <a:endParaRPr lang="is-IS"/>
        </a:p>
      </dgm:t>
    </dgm:pt>
    <dgm:pt modelId="{EB4366C3-A247-488A-8CE6-AA471C70B1E7}" type="sibTrans" cxnId="{35FF5AA3-3B3E-4D5A-801B-277DEF8C149A}">
      <dgm:prSet/>
      <dgm:spPr/>
      <dgm:t>
        <a:bodyPr/>
        <a:lstStyle/>
        <a:p>
          <a:endParaRPr lang="is-IS"/>
        </a:p>
      </dgm:t>
    </dgm:pt>
    <dgm:pt modelId="{B5F295AD-CEF3-47E9-A747-BD8C0A10CCA8}" type="pres">
      <dgm:prSet presAssocID="{BD1278F7-A04D-4475-9B22-A516B0233835}" presName="mainComposite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12932B7C-C921-4DBD-A3B0-88B083FB2740}" type="pres">
      <dgm:prSet presAssocID="{BD1278F7-A04D-4475-9B22-A516B0233835}" presName="hierFlow" presStyleCnt="0"/>
      <dgm:spPr/>
    </dgm:pt>
    <dgm:pt modelId="{FB9A37F7-91BF-4EAA-8A72-E8CCDF9DC2AD}" type="pres">
      <dgm:prSet presAssocID="{BD1278F7-A04D-4475-9B22-A516B0233835}" presName="firstBuf" presStyleCnt="0"/>
      <dgm:spPr/>
    </dgm:pt>
    <dgm:pt modelId="{EE482A59-79BF-45D4-9E7F-F7137C49019C}" type="pres">
      <dgm:prSet presAssocID="{BD1278F7-A04D-4475-9B22-A516B0233835}" presName="hierChild1" presStyleCnt="0">
        <dgm:presLayoutVars>
          <dgm:chPref val="1"/>
          <dgm:animOne val="branch"/>
          <dgm:animLvl val="lvl"/>
        </dgm:presLayoutVars>
      </dgm:prSet>
      <dgm:spPr/>
    </dgm:pt>
    <dgm:pt modelId="{1D84C12C-AE02-46BD-AA86-7562F16F90A1}" type="pres">
      <dgm:prSet presAssocID="{4271975F-AABC-45CA-84CF-000EE8932E7B}" presName="Name14" presStyleCnt="0"/>
      <dgm:spPr/>
    </dgm:pt>
    <dgm:pt modelId="{A857B52A-53D5-42F3-999D-E03DAAC9DAE4}" type="pres">
      <dgm:prSet presAssocID="{4271975F-AABC-45CA-84CF-000EE8932E7B}" presName="level1Shape" presStyleLbl="node0" presStyleIdx="0" presStyleCnt="1">
        <dgm:presLayoutVars>
          <dgm:chPref val="3"/>
        </dgm:presLayoutVars>
      </dgm:prSet>
      <dgm:spPr/>
    </dgm:pt>
    <dgm:pt modelId="{0626C906-9455-4F23-B02A-124072B8F86C}" type="pres">
      <dgm:prSet presAssocID="{4271975F-AABC-45CA-84CF-000EE8932E7B}" presName="hierChild2" presStyleCnt="0"/>
      <dgm:spPr/>
    </dgm:pt>
    <dgm:pt modelId="{34CB3969-FD6C-43E5-896D-77CEA1966F5F}" type="pres">
      <dgm:prSet presAssocID="{195B9CC4-E491-4DD1-B941-D88C928AAC07}" presName="Name19" presStyleLbl="parChTrans1D2" presStyleIdx="0" presStyleCnt="3"/>
      <dgm:spPr/>
    </dgm:pt>
    <dgm:pt modelId="{D9E2E12C-7E24-4A2C-AFBB-9F583E096BFD}" type="pres">
      <dgm:prSet presAssocID="{08E87FCB-A308-4B4F-8E47-8BB394B9D870}" presName="Name21" presStyleCnt="0"/>
      <dgm:spPr/>
    </dgm:pt>
    <dgm:pt modelId="{EA608336-D0D2-4F35-8D65-FB87992A34C9}" type="pres">
      <dgm:prSet presAssocID="{08E87FCB-A308-4B4F-8E47-8BB394B9D870}" presName="level2Shape" presStyleLbl="node2" presStyleIdx="0" presStyleCnt="3"/>
      <dgm:spPr/>
    </dgm:pt>
    <dgm:pt modelId="{0500081E-26A1-48ED-8803-853B441CB5E8}" type="pres">
      <dgm:prSet presAssocID="{08E87FCB-A308-4B4F-8E47-8BB394B9D870}" presName="hierChild3" presStyleCnt="0"/>
      <dgm:spPr/>
    </dgm:pt>
    <dgm:pt modelId="{053FA494-C162-424E-AAA8-C8617B39CB72}" type="pres">
      <dgm:prSet presAssocID="{3E865C7B-EB84-4083-B4AB-D9F9C0AB91CC}" presName="Name19" presStyleLbl="parChTrans1D3" presStyleIdx="0" presStyleCnt="2"/>
      <dgm:spPr/>
    </dgm:pt>
    <dgm:pt modelId="{3BA00680-1BF5-4F36-BB0D-44EFB92F8150}" type="pres">
      <dgm:prSet presAssocID="{A1A1D94A-E359-430D-B216-B987992CB6BD}" presName="Name21" presStyleCnt="0"/>
      <dgm:spPr/>
    </dgm:pt>
    <dgm:pt modelId="{B05527F4-375F-43E8-8880-17E81BCF2CB0}" type="pres">
      <dgm:prSet presAssocID="{A1A1D94A-E359-430D-B216-B987992CB6BD}" presName="level2Shape" presStyleLbl="node3" presStyleIdx="0" presStyleCnt="2"/>
      <dgm:spPr/>
    </dgm:pt>
    <dgm:pt modelId="{79A2723B-0585-4F93-92A6-0F1792F20145}" type="pres">
      <dgm:prSet presAssocID="{A1A1D94A-E359-430D-B216-B987992CB6BD}" presName="hierChild3" presStyleCnt="0"/>
      <dgm:spPr/>
    </dgm:pt>
    <dgm:pt modelId="{2D48816D-CBB8-4035-AFBE-CFC256337B0A}" type="pres">
      <dgm:prSet presAssocID="{CEFC5039-1661-41C1-8194-82DCD8B50375}" presName="Name19" presStyleLbl="parChTrans1D3" presStyleIdx="1" presStyleCnt="2"/>
      <dgm:spPr/>
    </dgm:pt>
    <dgm:pt modelId="{96057804-AB16-4DA6-8DF9-AAEDB10F08DC}" type="pres">
      <dgm:prSet presAssocID="{EEA852BC-B2CF-4939-9BAC-821185449E2C}" presName="Name21" presStyleCnt="0"/>
      <dgm:spPr/>
    </dgm:pt>
    <dgm:pt modelId="{49FB7788-C823-488F-9014-71A9C72E198B}" type="pres">
      <dgm:prSet presAssocID="{EEA852BC-B2CF-4939-9BAC-821185449E2C}" presName="level2Shape" presStyleLbl="node3" presStyleIdx="1" presStyleCnt="2"/>
      <dgm:spPr/>
    </dgm:pt>
    <dgm:pt modelId="{CB9BA887-6F0F-41C7-A9D9-8098EC1C9056}" type="pres">
      <dgm:prSet presAssocID="{EEA852BC-B2CF-4939-9BAC-821185449E2C}" presName="hierChild3" presStyleCnt="0"/>
      <dgm:spPr/>
    </dgm:pt>
    <dgm:pt modelId="{CB3831CF-6F47-4284-AA61-12F22CC419D2}" type="pres">
      <dgm:prSet presAssocID="{9710E577-41A6-4DE8-8530-A5429A8D27A2}" presName="Name19" presStyleLbl="parChTrans1D2" presStyleIdx="1" presStyleCnt="3"/>
      <dgm:spPr/>
    </dgm:pt>
    <dgm:pt modelId="{5A1D4EE7-4317-488A-A4B9-B9F27E0AE997}" type="pres">
      <dgm:prSet presAssocID="{CCAB3B6E-E28D-478E-9958-55EC2CA60A57}" presName="Name21" presStyleCnt="0"/>
      <dgm:spPr/>
    </dgm:pt>
    <dgm:pt modelId="{221EC696-6078-4475-A079-0CE98EC26626}" type="pres">
      <dgm:prSet presAssocID="{CCAB3B6E-E28D-478E-9958-55EC2CA60A57}" presName="level2Shape" presStyleLbl="node2" presStyleIdx="1" presStyleCnt="3"/>
      <dgm:spPr/>
    </dgm:pt>
    <dgm:pt modelId="{C8FE9571-6245-4AA2-8FA5-8E1479FCB158}" type="pres">
      <dgm:prSet presAssocID="{CCAB3B6E-E28D-478E-9958-55EC2CA60A57}" presName="hierChild3" presStyleCnt="0"/>
      <dgm:spPr/>
    </dgm:pt>
    <dgm:pt modelId="{9BA34840-2189-4CEB-9BDC-596430CB9063}" type="pres">
      <dgm:prSet presAssocID="{E1F5C2D9-6225-4C12-A302-1C647EF0A30E}" presName="Name19" presStyleLbl="parChTrans1D2" presStyleIdx="2" presStyleCnt="3"/>
      <dgm:spPr/>
    </dgm:pt>
    <dgm:pt modelId="{C3089333-4C26-4C81-A944-16D242D617AB}" type="pres">
      <dgm:prSet presAssocID="{C2F0188C-9396-4489-8CAA-6723F99E4C8E}" presName="Name21" presStyleCnt="0"/>
      <dgm:spPr/>
    </dgm:pt>
    <dgm:pt modelId="{E3BE76CF-4673-485C-A9E4-A9589459D0A5}" type="pres">
      <dgm:prSet presAssocID="{C2F0188C-9396-4489-8CAA-6723F99E4C8E}" presName="level2Shape" presStyleLbl="node2" presStyleIdx="2" presStyleCnt="3"/>
      <dgm:spPr/>
    </dgm:pt>
    <dgm:pt modelId="{8275A7BE-CE88-422E-A89A-57A9F898BDC3}" type="pres">
      <dgm:prSet presAssocID="{C2F0188C-9396-4489-8CAA-6723F99E4C8E}" presName="hierChild3" presStyleCnt="0"/>
      <dgm:spPr/>
    </dgm:pt>
    <dgm:pt modelId="{EF4CF697-02B9-42B8-9E36-6258B6298BAA}" type="pres">
      <dgm:prSet presAssocID="{BD1278F7-A04D-4475-9B22-A516B0233835}" presName="bgShapesFlow" presStyleCnt="0"/>
      <dgm:spPr/>
    </dgm:pt>
    <dgm:pt modelId="{626B7383-B785-471C-92DF-C5A55C839E8E}" type="pres">
      <dgm:prSet presAssocID="{F1D42D8F-57B6-400F-B278-DE9B7664CAD4}" presName="rectComp" presStyleCnt="0"/>
      <dgm:spPr/>
    </dgm:pt>
    <dgm:pt modelId="{9E4253D5-AB07-4166-A391-A91C82B6C39A}" type="pres">
      <dgm:prSet presAssocID="{F1D42D8F-57B6-400F-B278-DE9B7664CAD4}" presName="bgRect" presStyleLbl="bgShp" presStyleIdx="0" presStyleCnt="3"/>
      <dgm:spPr/>
    </dgm:pt>
    <dgm:pt modelId="{ED0E6DC9-437B-4296-AEB1-916E83462CE9}" type="pres">
      <dgm:prSet presAssocID="{F1D42D8F-57B6-400F-B278-DE9B7664CAD4}" presName="bgRectTx" presStyleLbl="bgShp" presStyleIdx="0" presStyleCnt="3">
        <dgm:presLayoutVars>
          <dgm:bulletEnabled val="1"/>
        </dgm:presLayoutVars>
      </dgm:prSet>
      <dgm:spPr/>
    </dgm:pt>
    <dgm:pt modelId="{B1A13C58-3125-4309-9C49-3655C0EB3452}" type="pres">
      <dgm:prSet presAssocID="{F1D42D8F-57B6-400F-B278-DE9B7664CAD4}" presName="spComp" presStyleCnt="0"/>
      <dgm:spPr/>
    </dgm:pt>
    <dgm:pt modelId="{D4EB0154-A319-45CF-A87E-7329086D2634}" type="pres">
      <dgm:prSet presAssocID="{F1D42D8F-57B6-400F-B278-DE9B7664CAD4}" presName="vSp" presStyleCnt="0"/>
      <dgm:spPr/>
    </dgm:pt>
    <dgm:pt modelId="{294CED34-45D9-41A8-92F2-8566734C0B07}" type="pres">
      <dgm:prSet presAssocID="{4A914034-5E0F-4876-AAA0-33DD1D8D307F}" presName="rectComp" presStyleCnt="0"/>
      <dgm:spPr/>
    </dgm:pt>
    <dgm:pt modelId="{8306433B-B1C2-4193-8818-C0E5096E7680}" type="pres">
      <dgm:prSet presAssocID="{4A914034-5E0F-4876-AAA0-33DD1D8D307F}" presName="bgRect" presStyleLbl="bgShp" presStyleIdx="1" presStyleCnt="3"/>
      <dgm:spPr/>
    </dgm:pt>
    <dgm:pt modelId="{48A94077-3BE9-4041-995E-C6BA815C6B25}" type="pres">
      <dgm:prSet presAssocID="{4A914034-5E0F-4876-AAA0-33DD1D8D307F}" presName="bgRectTx" presStyleLbl="bgShp" presStyleIdx="1" presStyleCnt="3">
        <dgm:presLayoutVars>
          <dgm:bulletEnabled val="1"/>
        </dgm:presLayoutVars>
      </dgm:prSet>
      <dgm:spPr/>
    </dgm:pt>
    <dgm:pt modelId="{8484CAFB-561A-4883-98C2-9421F9A671DE}" type="pres">
      <dgm:prSet presAssocID="{4A914034-5E0F-4876-AAA0-33DD1D8D307F}" presName="spComp" presStyleCnt="0"/>
      <dgm:spPr/>
    </dgm:pt>
    <dgm:pt modelId="{20C33FD6-C782-47A2-B34B-572A2E97ADFB}" type="pres">
      <dgm:prSet presAssocID="{4A914034-5E0F-4876-AAA0-33DD1D8D307F}" presName="vSp" presStyleCnt="0"/>
      <dgm:spPr/>
    </dgm:pt>
    <dgm:pt modelId="{85DC4903-4693-441B-92D8-330E4AB21044}" type="pres">
      <dgm:prSet presAssocID="{F0ADC1CA-8CA0-43BB-A3FB-F0AC89B8EA33}" presName="rectComp" presStyleCnt="0"/>
      <dgm:spPr/>
    </dgm:pt>
    <dgm:pt modelId="{4D68D4C6-76C2-4CA4-A8C3-C95C482DF0E9}" type="pres">
      <dgm:prSet presAssocID="{F0ADC1CA-8CA0-43BB-A3FB-F0AC89B8EA33}" presName="bgRect" presStyleLbl="bgShp" presStyleIdx="2" presStyleCnt="3"/>
      <dgm:spPr/>
    </dgm:pt>
    <dgm:pt modelId="{5B166E7F-61F9-4C6A-A62F-D1E284BD2DCB}" type="pres">
      <dgm:prSet presAssocID="{F0ADC1CA-8CA0-43BB-A3FB-F0AC89B8EA33}" presName="bgRectTx" presStyleLbl="bgShp" presStyleIdx="2" presStyleCnt="3">
        <dgm:presLayoutVars>
          <dgm:bulletEnabled val="1"/>
        </dgm:presLayoutVars>
      </dgm:prSet>
      <dgm:spPr/>
    </dgm:pt>
  </dgm:ptLst>
  <dgm:cxnLst>
    <dgm:cxn modelId="{08E42F01-97D8-41DB-8B42-EA2545E04B5A}" type="presOf" srcId="{CEFC5039-1661-41C1-8194-82DCD8B50375}" destId="{2D48816D-CBB8-4035-AFBE-CFC256337B0A}" srcOrd="0" destOrd="0" presId="urn:microsoft.com/office/officeart/2005/8/layout/hierarchy6"/>
    <dgm:cxn modelId="{51EC2417-27E6-4B54-9831-E37315414DFF}" type="presOf" srcId="{EEA852BC-B2CF-4939-9BAC-821185449E2C}" destId="{49FB7788-C823-488F-9014-71A9C72E198B}" srcOrd="0" destOrd="0" presId="urn:microsoft.com/office/officeart/2005/8/layout/hierarchy6"/>
    <dgm:cxn modelId="{78913B27-C789-403D-A2C5-593397C4405E}" type="presOf" srcId="{195B9CC4-E491-4DD1-B941-D88C928AAC07}" destId="{34CB3969-FD6C-43E5-896D-77CEA1966F5F}" srcOrd="0" destOrd="0" presId="urn:microsoft.com/office/officeart/2005/8/layout/hierarchy6"/>
    <dgm:cxn modelId="{353BFA2D-EDBC-4A2C-8FC9-2ED920B98371}" type="presOf" srcId="{A1A1D94A-E359-430D-B216-B987992CB6BD}" destId="{B05527F4-375F-43E8-8880-17E81BCF2CB0}" srcOrd="0" destOrd="0" presId="urn:microsoft.com/office/officeart/2005/8/layout/hierarchy6"/>
    <dgm:cxn modelId="{42C36835-5827-4224-9AD4-E79BAEE7A7D8}" srcId="{BD1278F7-A04D-4475-9B22-A516B0233835}" destId="{F0ADC1CA-8CA0-43BB-A3FB-F0AC89B8EA33}" srcOrd="3" destOrd="0" parTransId="{08F0EEEE-0570-4659-A4EC-20DAE43AF49F}" sibTransId="{C3D2D1E3-3DCC-4E06-9F08-1277915F6449}"/>
    <dgm:cxn modelId="{24AE943A-4940-44D0-881D-CD82F8AC1E1B}" srcId="{BD1278F7-A04D-4475-9B22-A516B0233835}" destId="{4A914034-5E0F-4876-AAA0-33DD1D8D307F}" srcOrd="2" destOrd="0" parTransId="{73D8D2B1-2191-48B3-B1F1-90F29C2AF920}" sibTransId="{E2B73278-6752-4449-8555-876C9A0A170A}"/>
    <dgm:cxn modelId="{00E9923C-B95F-47F0-8C4E-C9242040C2DA}" type="presOf" srcId="{3E865C7B-EB84-4083-B4AB-D9F9C0AB91CC}" destId="{053FA494-C162-424E-AAA8-C8617B39CB72}" srcOrd="0" destOrd="0" presId="urn:microsoft.com/office/officeart/2005/8/layout/hierarchy6"/>
    <dgm:cxn modelId="{19985944-2D47-44F9-B2CA-422C652BDA97}" type="presOf" srcId="{F1D42D8F-57B6-400F-B278-DE9B7664CAD4}" destId="{ED0E6DC9-437B-4296-AEB1-916E83462CE9}" srcOrd="1" destOrd="0" presId="urn:microsoft.com/office/officeart/2005/8/layout/hierarchy6"/>
    <dgm:cxn modelId="{CAD8D966-B6B7-40B4-ABA4-F035FA253C06}" type="presOf" srcId="{F0ADC1CA-8CA0-43BB-A3FB-F0AC89B8EA33}" destId="{5B166E7F-61F9-4C6A-A62F-D1E284BD2DCB}" srcOrd="1" destOrd="0" presId="urn:microsoft.com/office/officeart/2005/8/layout/hierarchy6"/>
    <dgm:cxn modelId="{76E9636E-BC0B-4AB9-A203-2C23226BD11F}" srcId="{BD1278F7-A04D-4475-9B22-A516B0233835}" destId="{4271975F-AABC-45CA-84CF-000EE8932E7B}" srcOrd="0" destOrd="0" parTransId="{0F90A23A-EBF2-41C7-BB9C-067A8A829A03}" sibTransId="{1BD5B31C-F069-4799-8017-2BBEE103449E}"/>
    <dgm:cxn modelId="{196B544E-36E1-4C19-B288-C89B52F3C2A9}" type="presOf" srcId="{08E87FCB-A308-4B4F-8E47-8BB394B9D870}" destId="{EA608336-D0D2-4F35-8D65-FB87992A34C9}" srcOrd="0" destOrd="0" presId="urn:microsoft.com/office/officeart/2005/8/layout/hierarchy6"/>
    <dgm:cxn modelId="{6E3D344F-732B-4953-9551-852EB7DF0EB8}" type="presOf" srcId="{F1D42D8F-57B6-400F-B278-DE9B7664CAD4}" destId="{9E4253D5-AB07-4166-A391-A91C82B6C39A}" srcOrd="0" destOrd="0" presId="urn:microsoft.com/office/officeart/2005/8/layout/hierarchy6"/>
    <dgm:cxn modelId="{D40D376F-938E-4926-A8D0-D89F4A6256E3}" srcId="{08E87FCB-A308-4B4F-8E47-8BB394B9D870}" destId="{EEA852BC-B2CF-4939-9BAC-821185449E2C}" srcOrd="1" destOrd="0" parTransId="{CEFC5039-1661-41C1-8194-82DCD8B50375}" sibTransId="{6FA3C847-8206-40A4-8F6A-5F74990F71AF}"/>
    <dgm:cxn modelId="{3990C179-AD2C-40D5-91DF-C86F1D44695D}" srcId="{08E87FCB-A308-4B4F-8E47-8BB394B9D870}" destId="{A1A1D94A-E359-430D-B216-B987992CB6BD}" srcOrd="0" destOrd="0" parTransId="{3E865C7B-EB84-4083-B4AB-D9F9C0AB91CC}" sibTransId="{26765869-F214-4FC6-8E35-EEE23A15E97F}"/>
    <dgm:cxn modelId="{15EB8F5A-0184-476E-BF7F-6A230B6AC875}" type="presOf" srcId="{4A914034-5E0F-4876-AAA0-33DD1D8D307F}" destId="{8306433B-B1C2-4193-8818-C0E5096E7680}" srcOrd="0" destOrd="0" presId="urn:microsoft.com/office/officeart/2005/8/layout/hierarchy6"/>
    <dgm:cxn modelId="{8C74DC86-CAC5-438A-9193-291709CA5639}" type="presOf" srcId="{F0ADC1CA-8CA0-43BB-A3FB-F0AC89B8EA33}" destId="{4D68D4C6-76C2-4CA4-A8C3-C95C482DF0E9}" srcOrd="0" destOrd="0" presId="urn:microsoft.com/office/officeart/2005/8/layout/hierarchy6"/>
    <dgm:cxn modelId="{74A93395-C4AD-45AA-BD88-2165E8310A55}" type="presOf" srcId="{9710E577-41A6-4DE8-8530-A5429A8D27A2}" destId="{CB3831CF-6F47-4284-AA61-12F22CC419D2}" srcOrd="0" destOrd="0" presId="urn:microsoft.com/office/officeart/2005/8/layout/hierarchy6"/>
    <dgm:cxn modelId="{2A8869A0-A1FD-43C2-B10E-873A56398542}" type="presOf" srcId="{4271975F-AABC-45CA-84CF-000EE8932E7B}" destId="{A857B52A-53D5-42F3-999D-E03DAAC9DAE4}" srcOrd="0" destOrd="0" presId="urn:microsoft.com/office/officeart/2005/8/layout/hierarchy6"/>
    <dgm:cxn modelId="{35FF5AA3-3B3E-4D5A-801B-277DEF8C149A}" srcId="{4271975F-AABC-45CA-84CF-000EE8932E7B}" destId="{C2F0188C-9396-4489-8CAA-6723F99E4C8E}" srcOrd="2" destOrd="0" parTransId="{E1F5C2D9-6225-4C12-A302-1C647EF0A30E}" sibTransId="{EB4366C3-A247-488A-8CE6-AA471C70B1E7}"/>
    <dgm:cxn modelId="{937E21AB-91E8-4860-B361-4AC0E3D8CB3D}" type="presOf" srcId="{E1F5C2D9-6225-4C12-A302-1C647EF0A30E}" destId="{9BA34840-2189-4CEB-9BDC-596430CB9063}" srcOrd="0" destOrd="0" presId="urn:microsoft.com/office/officeart/2005/8/layout/hierarchy6"/>
    <dgm:cxn modelId="{330355AD-C09B-4B66-9107-45B84C28FFD9}" type="presOf" srcId="{BD1278F7-A04D-4475-9B22-A516B0233835}" destId="{B5F295AD-CEF3-47E9-A747-BD8C0A10CCA8}" srcOrd="0" destOrd="0" presId="urn:microsoft.com/office/officeart/2005/8/layout/hierarchy6"/>
    <dgm:cxn modelId="{323F5BC3-ED06-4946-8DB1-E27AB19352A1}" type="presOf" srcId="{4A914034-5E0F-4876-AAA0-33DD1D8D307F}" destId="{48A94077-3BE9-4041-995E-C6BA815C6B25}" srcOrd="1" destOrd="0" presId="urn:microsoft.com/office/officeart/2005/8/layout/hierarchy6"/>
    <dgm:cxn modelId="{55CC94C8-2410-40ED-9AD9-00C2F43792B6}" srcId="{4271975F-AABC-45CA-84CF-000EE8932E7B}" destId="{08E87FCB-A308-4B4F-8E47-8BB394B9D870}" srcOrd="0" destOrd="0" parTransId="{195B9CC4-E491-4DD1-B941-D88C928AAC07}" sibTransId="{11F4FFBA-F857-4A88-B541-B858E10CB705}"/>
    <dgm:cxn modelId="{C9EC68CE-D23E-4AF2-BA9C-357CAEBDE536}" srcId="{4271975F-AABC-45CA-84CF-000EE8932E7B}" destId="{CCAB3B6E-E28D-478E-9958-55EC2CA60A57}" srcOrd="1" destOrd="0" parTransId="{9710E577-41A6-4DE8-8530-A5429A8D27A2}" sibTransId="{2E9EEEFB-9004-4C3D-ABB1-02BBD3E16456}"/>
    <dgm:cxn modelId="{B1FEA1EB-96C8-4EC7-9269-24DF2BF28CEF}" srcId="{BD1278F7-A04D-4475-9B22-A516B0233835}" destId="{F1D42D8F-57B6-400F-B278-DE9B7664CAD4}" srcOrd="1" destOrd="0" parTransId="{38AF3D0C-4A06-4201-A837-1D3CDAE5139A}" sibTransId="{C24ED4BF-C344-45E5-9ECD-70FAAD170B46}"/>
    <dgm:cxn modelId="{A188AEF0-C3A9-405A-87CA-6C75B044D120}" type="presOf" srcId="{CCAB3B6E-E28D-478E-9958-55EC2CA60A57}" destId="{221EC696-6078-4475-A079-0CE98EC26626}" srcOrd="0" destOrd="0" presId="urn:microsoft.com/office/officeart/2005/8/layout/hierarchy6"/>
    <dgm:cxn modelId="{1BDC29F1-ED2B-49BD-817C-EF7C8BF5ADBE}" type="presOf" srcId="{C2F0188C-9396-4489-8CAA-6723F99E4C8E}" destId="{E3BE76CF-4673-485C-A9E4-A9589459D0A5}" srcOrd="0" destOrd="0" presId="urn:microsoft.com/office/officeart/2005/8/layout/hierarchy6"/>
    <dgm:cxn modelId="{FA6AB4CA-B7D9-4B1A-B6AD-C39853F64B4A}" type="presParOf" srcId="{B5F295AD-CEF3-47E9-A747-BD8C0A10CCA8}" destId="{12932B7C-C921-4DBD-A3B0-88B083FB2740}" srcOrd="0" destOrd="0" presId="urn:microsoft.com/office/officeart/2005/8/layout/hierarchy6"/>
    <dgm:cxn modelId="{FF6BF68A-829A-41E3-A946-439A454B98A9}" type="presParOf" srcId="{12932B7C-C921-4DBD-A3B0-88B083FB2740}" destId="{FB9A37F7-91BF-4EAA-8A72-E8CCDF9DC2AD}" srcOrd="0" destOrd="0" presId="urn:microsoft.com/office/officeart/2005/8/layout/hierarchy6"/>
    <dgm:cxn modelId="{86996586-83BA-41EA-8F9E-FB3BCEB4FA11}" type="presParOf" srcId="{12932B7C-C921-4DBD-A3B0-88B083FB2740}" destId="{EE482A59-79BF-45D4-9E7F-F7137C49019C}" srcOrd="1" destOrd="0" presId="urn:microsoft.com/office/officeart/2005/8/layout/hierarchy6"/>
    <dgm:cxn modelId="{EC208C46-8BB6-437D-AD23-41E2B430A859}" type="presParOf" srcId="{EE482A59-79BF-45D4-9E7F-F7137C49019C}" destId="{1D84C12C-AE02-46BD-AA86-7562F16F90A1}" srcOrd="0" destOrd="0" presId="urn:microsoft.com/office/officeart/2005/8/layout/hierarchy6"/>
    <dgm:cxn modelId="{C542ABE0-2CFC-4B80-B775-6B3BD03226D9}" type="presParOf" srcId="{1D84C12C-AE02-46BD-AA86-7562F16F90A1}" destId="{A857B52A-53D5-42F3-999D-E03DAAC9DAE4}" srcOrd="0" destOrd="0" presId="urn:microsoft.com/office/officeart/2005/8/layout/hierarchy6"/>
    <dgm:cxn modelId="{4DC1F1BB-1223-48B4-B61A-644225971F24}" type="presParOf" srcId="{1D84C12C-AE02-46BD-AA86-7562F16F90A1}" destId="{0626C906-9455-4F23-B02A-124072B8F86C}" srcOrd="1" destOrd="0" presId="urn:microsoft.com/office/officeart/2005/8/layout/hierarchy6"/>
    <dgm:cxn modelId="{A4E3E262-FF43-4E24-82DD-11F2E22DCB6A}" type="presParOf" srcId="{0626C906-9455-4F23-B02A-124072B8F86C}" destId="{34CB3969-FD6C-43E5-896D-77CEA1966F5F}" srcOrd="0" destOrd="0" presId="urn:microsoft.com/office/officeart/2005/8/layout/hierarchy6"/>
    <dgm:cxn modelId="{DA9DE0B7-EBF7-447B-9AAF-CF70E91144DA}" type="presParOf" srcId="{0626C906-9455-4F23-B02A-124072B8F86C}" destId="{D9E2E12C-7E24-4A2C-AFBB-9F583E096BFD}" srcOrd="1" destOrd="0" presId="urn:microsoft.com/office/officeart/2005/8/layout/hierarchy6"/>
    <dgm:cxn modelId="{A9A145B7-6B3D-4DBD-B12C-00FC4538110C}" type="presParOf" srcId="{D9E2E12C-7E24-4A2C-AFBB-9F583E096BFD}" destId="{EA608336-D0D2-4F35-8D65-FB87992A34C9}" srcOrd="0" destOrd="0" presId="urn:microsoft.com/office/officeart/2005/8/layout/hierarchy6"/>
    <dgm:cxn modelId="{B3D92125-7AEC-4476-B405-284AD5AE1CC0}" type="presParOf" srcId="{D9E2E12C-7E24-4A2C-AFBB-9F583E096BFD}" destId="{0500081E-26A1-48ED-8803-853B441CB5E8}" srcOrd="1" destOrd="0" presId="urn:microsoft.com/office/officeart/2005/8/layout/hierarchy6"/>
    <dgm:cxn modelId="{558B4FCA-477C-4396-B229-34C2AB926A67}" type="presParOf" srcId="{0500081E-26A1-48ED-8803-853B441CB5E8}" destId="{053FA494-C162-424E-AAA8-C8617B39CB72}" srcOrd="0" destOrd="0" presId="urn:microsoft.com/office/officeart/2005/8/layout/hierarchy6"/>
    <dgm:cxn modelId="{B60BAC68-A495-4341-B480-A40F16193764}" type="presParOf" srcId="{0500081E-26A1-48ED-8803-853B441CB5E8}" destId="{3BA00680-1BF5-4F36-BB0D-44EFB92F8150}" srcOrd="1" destOrd="0" presId="urn:microsoft.com/office/officeart/2005/8/layout/hierarchy6"/>
    <dgm:cxn modelId="{1306E4D2-0E79-4354-BF6F-B2A5BBE7A6A6}" type="presParOf" srcId="{3BA00680-1BF5-4F36-BB0D-44EFB92F8150}" destId="{B05527F4-375F-43E8-8880-17E81BCF2CB0}" srcOrd="0" destOrd="0" presId="urn:microsoft.com/office/officeart/2005/8/layout/hierarchy6"/>
    <dgm:cxn modelId="{9FD9CF95-60DF-4462-A6A4-6F74970077A7}" type="presParOf" srcId="{3BA00680-1BF5-4F36-BB0D-44EFB92F8150}" destId="{79A2723B-0585-4F93-92A6-0F1792F20145}" srcOrd="1" destOrd="0" presId="urn:microsoft.com/office/officeart/2005/8/layout/hierarchy6"/>
    <dgm:cxn modelId="{4CF687F0-89FC-40D4-B9C0-BF5101856E6B}" type="presParOf" srcId="{0500081E-26A1-48ED-8803-853B441CB5E8}" destId="{2D48816D-CBB8-4035-AFBE-CFC256337B0A}" srcOrd="2" destOrd="0" presId="urn:microsoft.com/office/officeart/2005/8/layout/hierarchy6"/>
    <dgm:cxn modelId="{24E9D696-F187-47FD-A18A-1AEC598D98EA}" type="presParOf" srcId="{0500081E-26A1-48ED-8803-853B441CB5E8}" destId="{96057804-AB16-4DA6-8DF9-AAEDB10F08DC}" srcOrd="3" destOrd="0" presId="urn:microsoft.com/office/officeart/2005/8/layout/hierarchy6"/>
    <dgm:cxn modelId="{3D9D9563-9507-425D-A851-14089CC3D616}" type="presParOf" srcId="{96057804-AB16-4DA6-8DF9-AAEDB10F08DC}" destId="{49FB7788-C823-488F-9014-71A9C72E198B}" srcOrd="0" destOrd="0" presId="urn:microsoft.com/office/officeart/2005/8/layout/hierarchy6"/>
    <dgm:cxn modelId="{9C29BED2-5196-4D47-8EC5-10D8BE72E267}" type="presParOf" srcId="{96057804-AB16-4DA6-8DF9-AAEDB10F08DC}" destId="{CB9BA887-6F0F-41C7-A9D9-8098EC1C9056}" srcOrd="1" destOrd="0" presId="urn:microsoft.com/office/officeart/2005/8/layout/hierarchy6"/>
    <dgm:cxn modelId="{35F63FF8-1519-4A85-87D5-C9DC27B8C923}" type="presParOf" srcId="{0626C906-9455-4F23-B02A-124072B8F86C}" destId="{CB3831CF-6F47-4284-AA61-12F22CC419D2}" srcOrd="2" destOrd="0" presId="urn:microsoft.com/office/officeart/2005/8/layout/hierarchy6"/>
    <dgm:cxn modelId="{6862E371-3F23-46C4-8ABA-0C7F9BE9A051}" type="presParOf" srcId="{0626C906-9455-4F23-B02A-124072B8F86C}" destId="{5A1D4EE7-4317-488A-A4B9-B9F27E0AE997}" srcOrd="3" destOrd="0" presId="urn:microsoft.com/office/officeart/2005/8/layout/hierarchy6"/>
    <dgm:cxn modelId="{8E7F3341-B8D6-4A2F-8D3E-9F3586243C6E}" type="presParOf" srcId="{5A1D4EE7-4317-488A-A4B9-B9F27E0AE997}" destId="{221EC696-6078-4475-A079-0CE98EC26626}" srcOrd="0" destOrd="0" presId="urn:microsoft.com/office/officeart/2005/8/layout/hierarchy6"/>
    <dgm:cxn modelId="{F59B49E2-5F21-4BE8-8585-843705BFDA6F}" type="presParOf" srcId="{5A1D4EE7-4317-488A-A4B9-B9F27E0AE997}" destId="{C8FE9571-6245-4AA2-8FA5-8E1479FCB158}" srcOrd="1" destOrd="0" presId="urn:microsoft.com/office/officeart/2005/8/layout/hierarchy6"/>
    <dgm:cxn modelId="{1BFBE0E4-1A1F-4BE9-8FE3-69CF202C9F01}" type="presParOf" srcId="{0626C906-9455-4F23-B02A-124072B8F86C}" destId="{9BA34840-2189-4CEB-9BDC-596430CB9063}" srcOrd="4" destOrd="0" presId="urn:microsoft.com/office/officeart/2005/8/layout/hierarchy6"/>
    <dgm:cxn modelId="{4F036450-A788-4B1B-94F1-0DB59ADCDD6B}" type="presParOf" srcId="{0626C906-9455-4F23-B02A-124072B8F86C}" destId="{C3089333-4C26-4C81-A944-16D242D617AB}" srcOrd="5" destOrd="0" presId="urn:microsoft.com/office/officeart/2005/8/layout/hierarchy6"/>
    <dgm:cxn modelId="{6068051D-2AF9-465C-8328-05C11811603B}" type="presParOf" srcId="{C3089333-4C26-4C81-A944-16D242D617AB}" destId="{E3BE76CF-4673-485C-A9E4-A9589459D0A5}" srcOrd="0" destOrd="0" presId="urn:microsoft.com/office/officeart/2005/8/layout/hierarchy6"/>
    <dgm:cxn modelId="{8E5EF61C-2AED-40CB-BF1D-9DCD7B901662}" type="presParOf" srcId="{C3089333-4C26-4C81-A944-16D242D617AB}" destId="{8275A7BE-CE88-422E-A89A-57A9F898BDC3}" srcOrd="1" destOrd="0" presId="urn:microsoft.com/office/officeart/2005/8/layout/hierarchy6"/>
    <dgm:cxn modelId="{813957CE-8814-48FC-A54E-378BDF0F68B2}" type="presParOf" srcId="{B5F295AD-CEF3-47E9-A747-BD8C0A10CCA8}" destId="{EF4CF697-02B9-42B8-9E36-6258B6298BAA}" srcOrd="1" destOrd="0" presId="urn:microsoft.com/office/officeart/2005/8/layout/hierarchy6"/>
    <dgm:cxn modelId="{842654A6-3207-4252-B165-2BB4D7CBCB4B}" type="presParOf" srcId="{EF4CF697-02B9-42B8-9E36-6258B6298BAA}" destId="{626B7383-B785-471C-92DF-C5A55C839E8E}" srcOrd="0" destOrd="0" presId="urn:microsoft.com/office/officeart/2005/8/layout/hierarchy6"/>
    <dgm:cxn modelId="{8AD92416-53B5-44C6-A5B6-054B09834495}" type="presParOf" srcId="{626B7383-B785-471C-92DF-C5A55C839E8E}" destId="{9E4253D5-AB07-4166-A391-A91C82B6C39A}" srcOrd="0" destOrd="0" presId="urn:microsoft.com/office/officeart/2005/8/layout/hierarchy6"/>
    <dgm:cxn modelId="{569A78A1-94CA-4F53-80C0-AE3979C5A8DA}" type="presParOf" srcId="{626B7383-B785-471C-92DF-C5A55C839E8E}" destId="{ED0E6DC9-437B-4296-AEB1-916E83462CE9}" srcOrd="1" destOrd="0" presId="urn:microsoft.com/office/officeart/2005/8/layout/hierarchy6"/>
    <dgm:cxn modelId="{675C3597-C57B-48A9-8C46-A96781190087}" type="presParOf" srcId="{EF4CF697-02B9-42B8-9E36-6258B6298BAA}" destId="{B1A13C58-3125-4309-9C49-3655C0EB3452}" srcOrd="1" destOrd="0" presId="urn:microsoft.com/office/officeart/2005/8/layout/hierarchy6"/>
    <dgm:cxn modelId="{69126AF4-1890-4D20-B521-246566D6B759}" type="presParOf" srcId="{B1A13C58-3125-4309-9C49-3655C0EB3452}" destId="{D4EB0154-A319-45CF-A87E-7329086D2634}" srcOrd="0" destOrd="0" presId="urn:microsoft.com/office/officeart/2005/8/layout/hierarchy6"/>
    <dgm:cxn modelId="{3FD855BD-597C-4C6D-8982-4AEF4F73C9AB}" type="presParOf" srcId="{EF4CF697-02B9-42B8-9E36-6258B6298BAA}" destId="{294CED34-45D9-41A8-92F2-8566734C0B07}" srcOrd="2" destOrd="0" presId="urn:microsoft.com/office/officeart/2005/8/layout/hierarchy6"/>
    <dgm:cxn modelId="{89469092-B3F0-4C0F-BE7D-AF2FFD3DB1F2}" type="presParOf" srcId="{294CED34-45D9-41A8-92F2-8566734C0B07}" destId="{8306433B-B1C2-4193-8818-C0E5096E7680}" srcOrd="0" destOrd="0" presId="urn:microsoft.com/office/officeart/2005/8/layout/hierarchy6"/>
    <dgm:cxn modelId="{93EECD98-4673-49E6-B779-B4B7075B10BB}" type="presParOf" srcId="{294CED34-45D9-41A8-92F2-8566734C0B07}" destId="{48A94077-3BE9-4041-995E-C6BA815C6B25}" srcOrd="1" destOrd="0" presId="urn:microsoft.com/office/officeart/2005/8/layout/hierarchy6"/>
    <dgm:cxn modelId="{5D66911E-A69E-4339-8B8B-CE466308C344}" type="presParOf" srcId="{EF4CF697-02B9-42B8-9E36-6258B6298BAA}" destId="{8484CAFB-561A-4883-98C2-9421F9A671DE}" srcOrd="3" destOrd="0" presId="urn:microsoft.com/office/officeart/2005/8/layout/hierarchy6"/>
    <dgm:cxn modelId="{8BC4739C-D767-45B4-A89A-8991EB21EA13}" type="presParOf" srcId="{8484CAFB-561A-4883-98C2-9421F9A671DE}" destId="{20C33FD6-C782-47A2-B34B-572A2E97ADFB}" srcOrd="0" destOrd="0" presId="urn:microsoft.com/office/officeart/2005/8/layout/hierarchy6"/>
    <dgm:cxn modelId="{90BCCBA0-4D23-4D5A-B964-CAC490FC8755}" type="presParOf" srcId="{EF4CF697-02B9-42B8-9E36-6258B6298BAA}" destId="{85DC4903-4693-441B-92D8-330E4AB21044}" srcOrd="4" destOrd="0" presId="urn:microsoft.com/office/officeart/2005/8/layout/hierarchy6"/>
    <dgm:cxn modelId="{24E11AA3-15E6-4D92-B546-044C9982A487}" type="presParOf" srcId="{85DC4903-4693-441B-92D8-330E4AB21044}" destId="{4D68D4C6-76C2-4CA4-A8C3-C95C482DF0E9}" srcOrd="0" destOrd="0" presId="urn:microsoft.com/office/officeart/2005/8/layout/hierarchy6"/>
    <dgm:cxn modelId="{8845B34C-8A31-4C33-9156-19C8A826933C}" type="presParOf" srcId="{85DC4903-4693-441B-92D8-330E4AB21044}" destId="{5B166E7F-61F9-4C6A-A62F-D1E284BD2DCB}" srcOrd="1" destOrd="0" presId="urn:microsoft.com/office/officeart/2005/8/layout/hierarchy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D68D4C6-76C2-4CA4-A8C3-C95C482DF0E9}">
      <dsp:nvSpPr>
        <dsp:cNvPr id="0" name=""/>
        <dsp:cNvSpPr/>
      </dsp:nvSpPr>
      <dsp:spPr>
        <a:xfrm>
          <a:off x="0" y="3046033"/>
          <a:ext cx="10515600" cy="13039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Implementation specific</a:t>
          </a:r>
          <a:endParaRPr lang="is-IS" sz="3100" kern="1200" dirty="0"/>
        </a:p>
      </dsp:txBody>
      <dsp:txXfrm>
        <a:off x="0" y="3046033"/>
        <a:ext cx="3154680" cy="1303949"/>
      </dsp:txXfrm>
    </dsp:sp>
    <dsp:sp modelId="{8306433B-B1C2-4193-8818-C0E5096E7680}">
      <dsp:nvSpPr>
        <dsp:cNvPr id="0" name=""/>
        <dsp:cNvSpPr/>
      </dsp:nvSpPr>
      <dsp:spPr>
        <a:xfrm>
          <a:off x="0" y="1523694"/>
          <a:ext cx="10515600" cy="13039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Invoice domain specifications</a:t>
          </a:r>
          <a:endParaRPr lang="is-IS" sz="3100" kern="1200" dirty="0"/>
        </a:p>
      </dsp:txBody>
      <dsp:txXfrm>
        <a:off x="0" y="1523694"/>
        <a:ext cx="3154680" cy="1303949"/>
      </dsp:txXfrm>
    </dsp:sp>
    <dsp:sp modelId="{9E4253D5-AB07-4166-A391-A91C82B6C39A}">
      <dsp:nvSpPr>
        <dsp:cNvPr id="0" name=""/>
        <dsp:cNvSpPr/>
      </dsp:nvSpPr>
      <dsp:spPr>
        <a:xfrm>
          <a:off x="0" y="1354"/>
          <a:ext cx="10515600" cy="1303949"/>
        </a:xfrm>
        <a:prstGeom prst="roundRect">
          <a:avLst>
            <a:gd name="adj" fmla="val 10000"/>
          </a:avLst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20472" tIns="220472" rIns="220472" bIns="220472" numCol="1" spcCol="1270" anchor="ctr" anchorCtr="0">
          <a:noAutofit/>
        </a:bodyPr>
        <a:lstStyle/>
        <a:p>
          <a:pPr marL="0" lvl="0" indent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3100" kern="1200" dirty="0"/>
            <a:t>International model</a:t>
          </a:r>
          <a:endParaRPr lang="is-IS" sz="3100" kern="1200" dirty="0"/>
        </a:p>
      </dsp:txBody>
      <dsp:txXfrm>
        <a:off x="0" y="1354"/>
        <a:ext cx="3154680" cy="1303949"/>
      </dsp:txXfrm>
    </dsp:sp>
    <dsp:sp modelId="{A857B52A-53D5-42F3-999D-E03DAAC9DAE4}">
      <dsp:nvSpPr>
        <dsp:cNvPr id="0" name=""/>
        <dsp:cNvSpPr/>
      </dsp:nvSpPr>
      <dsp:spPr>
        <a:xfrm>
          <a:off x="6443346" y="110550"/>
          <a:ext cx="1637927" cy="1091951"/>
        </a:xfrm>
        <a:prstGeom prst="roundRect">
          <a:avLst>
            <a:gd name="adj" fmla="val 10000"/>
          </a:avLst>
        </a:prstGeom>
        <a:solidFill>
          <a:schemeClr val="tx1">
            <a:lumMod val="60000"/>
            <a:lumOff val="40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PEPPOL international invoice model</a:t>
          </a:r>
          <a:endParaRPr lang="is-IS" sz="1800" kern="1200" dirty="0"/>
        </a:p>
      </dsp:txBody>
      <dsp:txXfrm>
        <a:off x="6475328" y="142532"/>
        <a:ext cx="1573963" cy="1027987"/>
      </dsp:txXfrm>
    </dsp:sp>
    <dsp:sp modelId="{34CB3969-FD6C-43E5-896D-77CEA1966F5F}">
      <dsp:nvSpPr>
        <dsp:cNvPr id="0" name=""/>
        <dsp:cNvSpPr/>
      </dsp:nvSpPr>
      <dsp:spPr>
        <a:xfrm>
          <a:off x="5133004" y="1202501"/>
          <a:ext cx="2129306" cy="436780"/>
        </a:xfrm>
        <a:custGeom>
          <a:avLst/>
          <a:gdLst/>
          <a:ahLst/>
          <a:cxnLst/>
          <a:rect l="0" t="0" r="0" b="0"/>
          <a:pathLst>
            <a:path>
              <a:moveTo>
                <a:pt x="2129306" y="0"/>
              </a:moveTo>
              <a:lnTo>
                <a:pt x="2129306" y="218390"/>
              </a:lnTo>
              <a:lnTo>
                <a:pt x="0" y="218390"/>
              </a:lnTo>
              <a:lnTo>
                <a:pt x="0" y="436780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A608336-D0D2-4F35-8D65-FB87992A34C9}">
      <dsp:nvSpPr>
        <dsp:cNvPr id="0" name=""/>
        <dsp:cNvSpPr/>
      </dsp:nvSpPr>
      <dsp:spPr>
        <a:xfrm>
          <a:off x="4314040" y="1639282"/>
          <a:ext cx="1637927" cy="1091951"/>
        </a:xfrm>
        <a:prstGeom prst="roundRect">
          <a:avLst>
            <a:gd name="adj" fmla="val 10000"/>
          </a:avLst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EN 16931</a:t>
          </a:r>
          <a:endParaRPr lang="is-IS" sz="1800" kern="1200" dirty="0"/>
        </a:p>
      </dsp:txBody>
      <dsp:txXfrm>
        <a:off x="4346022" y="1671264"/>
        <a:ext cx="1573963" cy="1027987"/>
      </dsp:txXfrm>
    </dsp:sp>
    <dsp:sp modelId="{053FA494-C162-424E-AAA8-C8617B39CB72}">
      <dsp:nvSpPr>
        <dsp:cNvPr id="0" name=""/>
        <dsp:cNvSpPr/>
      </dsp:nvSpPr>
      <dsp:spPr>
        <a:xfrm>
          <a:off x="4068351" y="2731234"/>
          <a:ext cx="1064653" cy="436780"/>
        </a:xfrm>
        <a:custGeom>
          <a:avLst/>
          <a:gdLst/>
          <a:ahLst/>
          <a:cxnLst/>
          <a:rect l="0" t="0" r="0" b="0"/>
          <a:pathLst>
            <a:path>
              <a:moveTo>
                <a:pt x="1064653" y="0"/>
              </a:moveTo>
              <a:lnTo>
                <a:pt x="1064653" y="218390"/>
              </a:lnTo>
              <a:lnTo>
                <a:pt x="0" y="218390"/>
              </a:lnTo>
              <a:lnTo>
                <a:pt x="0" y="43678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B05527F4-375F-43E8-8880-17E81BCF2CB0}">
      <dsp:nvSpPr>
        <dsp:cNvPr id="0" name=""/>
        <dsp:cNvSpPr/>
      </dsp:nvSpPr>
      <dsp:spPr>
        <a:xfrm>
          <a:off x="3249387" y="3168015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PEPPOL BIS Billing 3.0</a:t>
          </a:r>
          <a:endParaRPr lang="is-IS" sz="1800" kern="1200" dirty="0"/>
        </a:p>
      </dsp:txBody>
      <dsp:txXfrm>
        <a:off x="3281369" y="3199997"/>
        <a:ext cx="1573963" cy="1027987"/>
      </dsp:txXfrm>
    </dsp:sp>
    <dsp:sp modelId="{2D48816D-CBB8-4035-AFBE-CFC256337B0A}">
      <dsp:nvSpPr>
        <dsp:cNvPr id="0" name=""/>
        <dsp:cNvSpPr/>
      </dsp:nvSpPr>
      <dsp:spPr>
        <a:xfrm>
          <a:off x="5133004" y="2731234"/>
          <a:ext cx="1064653" cy="436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390"/>
              </a:lnTo>
              <a:lnTo>
                <a:pt x="1064653" y="218390"/>
              </a:lnTo>
              <a:lnTo>
                <a:pt x="1064653" y="436780"/>
              </a:lnTo>
            </a:path>
          </a:pathLst>
        </a:custGeom>
        <a:noFill/>
        <a:ln w="12700" cap="flat" cmpd="sng" algn="ctr">
          <a:solidFill>
            <a:scrgbClr r="0" g="0" b="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49FB7788-C823-488F-9014-71A9C72E198B}">
      <dsp:nvSpPr>
        <dsp:cNvPr id="0" name=""/>
        <dsp:cNvSpPr/>
      </dsp:nvSpPr>
      <dsp:spPr>
        <a:xfrm>
          <a:off x="5378693" y="3168015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Spanish </a:t>
          </a:r>
          <a:r>
            <a:rPr lang="en-GB" sz="1800" kern="1200" dirty="0" err="1"/>
            <a:t>facturae</a:t>
          </a:r>
          <a:endParaRPr lang="is-IS" sz="1800" kern="1200" dirty="0"/>
        </a:p>
      </dsp:txBody>
      <dsp:txXfrm>
        <a:off x="5410675" y="3199997"/>
        <a:ext cx="1573963" cy="1027987"/>
      </dsp:txXfrm>
    </dsp:sp>
    <dsp:sp modelId="{CB3831CF-6F47-4284-AA61-12F22CC419D2}">
      <dsp:nvSpPr>
        <dsp:cNvPr id="0" name=""/>
        <dsp:cNvSpPr/>
      </dsp:nvSpPr>
      <dsp:spPr>
        <a:xfrm>
          <a:off x="7216590" y="1202501"/>
          <a:ext cx="91440" cy="436780"/>
        </a:xfrm>
        <a:custGeom>
          <a:avLst/>
          <a:gdLst/>
          <a:ahLst/>
          <a:cxnLst/>
          <a:rect l="0" t="0" r="0" b="0"/>
          <a:pathLst>
            <a:path>
              <a:moveTo>
                <a:pt x="45720" y="0"/>
              </a:moveTo>
              <a:lnTo>
                <a:pt x="45720" y="436780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21EC696-6078-4475-A079-0CE98EC26626}">
      <dsp:nvSpPr>
        <dsp:cNvPr id="0" name=""/>
        <dsp:cNvSpPr/>
      </dsp:nvSpPr>
      <dsp:spPr>
        <a:xfrm>
          <a:off x="6443346" y="1639282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 err="1"/>
            <a:t>TransTasman</a:t>
          </a:r>
          <a:endParaRPr lang="is-IS" sz="1800" kern="1200" dirty="0"/>
        </a:p>
      </dsp:txBody>
      <dsp:txXfrm>
        <a:off x="6475328" y="1671264"/>
        <a:ext cx="1573963" cy="1027987"/>
      </dsp:txXfrm>
    </dsp:sp>
    <dsp:sp modelId="{9BA34840-2189-4CEB-9BDC-596430CB9063}">
      <dsp:nvSpPr>
        <dsp:cNvPr id="0" name=""/>
        <dsp:cNvSpPr/>
      </dsp:nvSpPr>
      <dsp:spPr>
        <a:xfrm>
          <a:off x="7262310" y="1202501"/>
          <a:ext cx="2129306" cy="43678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0" y="218390"/>
              </a:lnTo>
              <a:lnTo>
                <a:pt x="2129306" y="218390"/>
              </a:lnTo>
              <a:lnTo>
                <a:pt x="2129306" y="436780"/>
              </a:lnTo>
            </a:path>
          </a:pathLst>
        </a:custGeom>
        <a:noFill/>
        <a:ln w="12700" cap="flat" cmpd="sng" algn="ctr">
          <a:solidFill>
            <a:srgbClr val="FFC000"/>
          </a:solidFill>
          <a:prstDash val="solid"/>
          <a:miter lim="800000"/>
          <a:headEnd type="arrow"/>
          <a:tailEnd type="none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E3BE76CF-4673-485C-A9E4-A9589459D0A5}">
      <dsp:nvSpPr>
        <dsp:cNvPr id="0" name=""/>
        <dsp:cNvSpPr/>
      </dsp:nvSpPr>
      <dsp:spPr>
        <a:xfrm>
          <a:off x="8572652" y="1639282"/>
          <a:ext cx="1637927" cy="1091951"/>
        </a:xfrm>
        <a:prstGeom prst="roundRect">
          <a:avLst>
            <a:gd name="adj" fmla="val 10000"/>
          </a:avLst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68580" tIns="68580" rIns="68580" bIns="68580" numCol="1" spcCol="1270" anchor="ctr" anchorCtr="0">
          <a:noAutofit/>
        </a:bodyPr>
        <a:lstStyle/>
        <a:p>
          <a:pPr marL="0" lvl="0" indent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GB" sz="1800" kern="1200" dirty="0"/>
            <a:t>Singapore</a:t>
          </a:r>
          <a:endParaRPr lang="is-IS" sz="1800" kern="1200" dirty="0"/>
        </a:p>
      </dsp:txBody>
      <dsp:txXfrm>
        <a:off x="8604634" y="1671264"/>
        <a:ext cx="1573963" cy="102798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ierarchy6">
  <dgm:title val=""/>
  <dgm:desc val=""/>
  <dgm:catLst>
    <dgm:cat type="hierarchy" pri="3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5">
          <dgm:prSet phldr="1"/>
        </dgm:pt>
        <dgm:pt modelId="6">
          <dgm:prSet phldr="1"/>
        </dgm:pt>
      </dgm:ptLst>
      <dgm:cxnLst>
        <dgm:cxn modelId="7" srcId="0" destId="1" srcOrd="0" destOrd="0"/>
        <dgm:cxn modelId="8" srcId="1" destId="2" srcOrd="0" destOrd="0"/>
        <dgm:cxn modelId="9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10" srcId="0" destId="4" srcOrd="1" destOrd="0"/>
        <dgm:cxn modelId="11" srcId="0" destId="5" srcOrd="2" destOrd="0"/>
        <dgm:cxn modelId="12" srcId="0" destId="6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2"/>
        <dgm:pt modelId="3"/>
      </dgm:ptLst>
      <dgm:cxnLst>
        <dgm:cxn modelId="4" srcId="0" destId="1" srcOrd="0" destOrd="0"/>
        <dgm:cxn modelId="13" srcId="1" destId="11" srcOrd="0" destOrd="0"/>
        <dgm:cxn modelId="14" srcId="1" destId="12" srcOrd="1" destOrd="0"/>
        <dgm:cxn modelId="5" srcId="0" destId="2" srcOrd="1" destOrd="0"/>
        <dgm:cxn modelId="6" srcId="0" destId="3" srcOrd="2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  <dgm:pt modelId="4"/>
        <dgm:pt modelId="5"/>
        <dgm:pt modelId="6"/>
        <dgm:pt modelId="7"/>
      </dgm:ptLst>
      <dgm:cxnLst>
        <dgm:cxn modelId="8" srcId="0" destId="1" srcOrd="0" destOrd="0"/>
        <dgm:cxn modelId="9" srcId="1" destId="2" srcOrd="0" destOrd="0"/>
        <dgm:cxn modelId="10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  <dgm:cxn modelId="11" srcId="0" destId="4" srcOrd="1" destOrd="0"/>
        <dgm:cxn modelId="12" srcId="0" destId="5" srcOrd="2" destOrd="0"/>
        <dgm:cxn modelId="13" srcId="0" destId="6" srcOrd="3" destOrd="0"/>
        <dgm:cxn modelId="14" srcId="0" destId="7" srcOrd="4" destOrd="0"/>
      </dgm:cxnLst>
      <dgm:bg/>
      <dgm:whole/>
    </dgm:dataModel>
  </dgm:clrData>
  <dgm:layoutNode name="mainComposite">
    <dgm:varLst>
      <dgm:chPref val="1"/>
      <dgm:dir/>
      <dgm:animOne val="branch"/>
      <dgm:animLvl val="lvl"/>
      <dgm:resizeHandles val="exact"/>
    </dgm:varLst>
    <dgm:alg type="composite">
      <dgm:param type="vertAlign" val="mid"/>
      <dgm:param type="horzAlign" val="ctr"/>
    </dgm:alg>
    <dgm:shape xmlns:r="http://schemas.openxmlformats.org/officeDocument/2006/relationships" r:blip="">
      <dgm:adjLst/>
    </dgm:shape>
    <dgm:presOf/>
    <dgm:choose name="Name0">
      <dgm:if name="Name1" axis="ch" ptType="node" func="cnt" op="gte" val="2">
        <dgm:choose name="Name2">
          <dgm:if name="Name3" func="var" arg="dir" op="equ" val="norm">
            <dgm:constrLst>
              <dgm:constr type="l" for="ch" forName="hierFlow" refType="w" fact="0.3"/>
              <dgm:constr type="t" for="ch" forName="hierFlow"/>
              <dgm:constr type="r" for="ch" forName="hierFlow" refType="w" fact="0.98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if>
          <dgm:else name="Name4">
            <dgm:constrLst>
              <dgm:constr type="l" for="ch" forName="hierFlow" refType="w" fact="0.02"/>
              <dgm:constr type="t" for="ch" forName="hierFlow"/>
              <dgm:constr type="r" for="ch" forName="hierFlow" refType="w" fact="0.7"/>
              <dgm:constr type="b" for="ch" forName="hierFlow" refType="h" fact="0.98"/>
              <dgm:constr type="l" for="ch" forName="bgShapesFlow"/>
              <dgm:constr type="t" for="ch" forName="bgShapesFlow"/>
              <dgm:constr type="r" for="ch" forName="bgShapesFlow" refType="w"/>
              <dgm:constr type="b" for="ch" forName="bgShapesFlow" refType="h"/>
              <dgm:constr type="w" for="des" forName="level1Shape" refType="w"/>
              <dgm:constr type="h" for="des" forName="level1Shape" refType="w" refFor="des" refForName="level1Shape" fact="0.66667"/>
              <dgm:constr type="w" for="des" forName="level2Shape" refType="w" refFor="des" refForName="level1Shape" op="equ"/>
              <dgm:constr type="h" for="des" forName="level2Shape" refType="h" refFor="des" refForName="level1Shape" op="equ"/>
              <dgm:constr type="sp" for="des" refType="h" refFor="des" refForName="level1Shape" op="equ" fact="0.4"/>
              <dgm:constr type="sibSp" for="des" forName="hierChild1" refType="w" refFor="des" refForName="level1Shape" op="equ" fact="0.3"/>
              <dgm:constr type="sibSp" for="des" forName="hierChild2" refType="sibSp" refFor="des" refForName="hierChild1" op="equ"/>
              <dgm:constr type="sibSp" for="des" forName="hierChild3" refType="sibSp" refFor="des" refForName="hierChild1" op="equ"/>
              <dgm:constr type="userA" for="des" refType="h" refFor="des" refForName="level1Shape" op="equ"/>
              <dgm:constr type="userB" for="des" refType="sp" refFor="des" op="equ"/>
              <dgm:constr type="h" for="des" forName="firstBuf" refType="h" refFor="des" refForName="level1Shape" fact="0.1"/>
            </dgm:constrLst>
          </dgm:else>
        </dgm:choose>
      </dgm:if>
      <dgm:else name="Name5">
        <dgm:constrLst>
          <dgm:constr type="l" for="ch" forName="hierFlow"/>
          <dgm:constr type="t" for="ch" forName="hierFlow"/>
          <dgm:constr type="r" for="ch" forName="hierFlow" refType="w"/>
          <dgm:constr type="b" for="ch" forName="hierFlow" refType="h"/>
          <dgm:constr type="l" for="ch" forName="bgShapesFlow"/>
          <dgm:constr type="t" for="ch" forName="bgShapesFlow"/>
          <dgm:constr type="r" for="ch" forName="bgShapesFlow" refType="w"/>
          <dgm:constr type="b" for="ch" forName="bgShapesFlow" refType="h"/>
          <dgm:constr type="w" for="des" forName="level1Shape" refType="w"/>
          <dgm:constr type="h" for="des" forName="level1Shape" refType="w" refFor="des" refForName="level1Shape" fact="0.66667"/>
          <dgm:constr type="w" for="des" forName="level2Shape" refType="w" refFor="des" refForName="level1Shape" op="equ"/>
          <dgm:constr type="h" for="des" forName="level2Shape" refType="h" refFor="des" refForName="level1Shape" op="equ"/>
          <dgm:constr type="sp" for="des" refType="h" refFor="des" refForName="level1Shape" op="equ" fact="0.4"/>
          <dgm:constr type="sibSp" for="des" forName="hierChild1" refType="w" refFor="des" refForName="level1Shape" op="equ" fact="0.3"/>
          <dgm:constr type="sibSp" for="des" forName="hierChild2" refType="sibSp" refFor="des" refForName="hierChild1" op="equ"/>
          <dgm:constr type="sibSp" for="des" forName="hierChild3" refType="sibSp" refFor="des" refForName="hierChild1" op="equ"/>
          <dgm:constr type="userA" for="des" refType="h" refFor="des" refForName="level1Shape" op="equ"/>
          <dgm:constr type="userB" for="des" refType="sp" refFor="des" op="equ"/>
          <dgm:constr type="h" for="des" forName="firstBuf" refType="h" refFor="des" refForName="level1Shape" fact="0.1"/>
        </dgm:constrLst>
      </dgm:else>
    </dgm:choose>
    <dgm:ruleLst/>
    <dgm:layoutNode name="hierFlow">
      <dgm:alg type="lin">
        <dgm:param type="linDir" val="fromT"/>
        <dgm:param type="nodeVertAlign" val="t"/>
        <dgm:param type="vertAlign" val="t"/>
        <dgm:param type="nodeHorzAlign" val="ctr"/>
        <dgm:param type="fallback" val="2D"/>
      </dgm:alg>
      <dgm:shape xmlns:r="http://schemas.openxmlformats.org/officeDocument/2006/relationships" r:blip="">
        <dgm:adjLst/>
      </dgm:shape>
      <dgm:presOf/>
      <dgm:constrLst/>
      <dgm:ruleLst/>
      <dgm:choose name="Name6">
        <dgm:if name="Name7" axis="ch" ptType="node" func="cnt" op="gte" val="2">
          <dgm:layoutNode name="firstBuf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if>
        <dgm:else name="Name8"/>
      </dgm:choose>
      <dgm:layoutNode name="hierChild1">
        <dgm:varLst>
          <dgm:chPref val="1"/>
          <dgm:animOne val="branch"/>
          <dgm:animLvl val="lvl"/>
        </dgm:varLst>
        <dgm:choose name="Name9">
          <dgm:if name="Name10" func="var" arg="dir" op="equ" val="norm">
            <dgm:alg type="hierChild">
              <dgm:param type="linDir" val="fromL"/>
              <dgm:param type="vertAlign" val="t"/>
            </dgm:alg>
          </dgm:if>
          <dgm:else name="Name11">
            <dgm:alg type="hierChild">
              <dgm:param type="linDir" val="fromR"/>
              <dgm:param type="vertAlign" val="t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primFontSz" for="des" ptType="node" op="equ"/>
        </dgm:constrLst>
        <dgm:ruleLst/>
        <dgm:forEach name="Name12" axis="ch" cnt="3">
          <dgm:forEach name="Name13" axis="self" ptType="node">
            <dgm:layoutNode name="Name14">
              <dgm:alg type="hierRoot"/>
              <dgm:shape xmlns:r="http://schemas.openxmlformats.org/officeDocument/2006/relationships" r:blip="">
                <dgm:adjLst/>
              </dgm:shape>
              <dgm:presOf/>
              <dgm:constrLst/>
              <dgm:ruleLst/>
              <dgm:layoutNode name="level1Shape" styleLbl="node0">
                <dgm:varLst>
                  <dgm:chPref val="3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self"/>
                <dgm:constrLst>
                  <dgm:constr type="primFontSz" val="65"/>
                  <dgm:constr type="tMarg" refType="primFontSz" fact="0.3"/>
                  <dgm:constr type="bMarg" refType="primFontSz" fact="0.3"/>
                  <dgm:constr type="lMarg" refType="primFontSz" fact="0.3"/>
                  <dgm:constr type="rMarg" refType="primFontSz" fact="0.3"/>
                </dgm:constrLst>
                <dgm:ruleLst>
                  <dgm:rule type="primFontSz" val="5" fact="NaN" max="NaN"/>
                </dgm:ruleLst>
              </dgm:layoutNode>
              <dgm:layoutNode name="hierChild2">
                <dgm:choose name="Name15">
                  <dgm:if name="Name16" func="var" arg="dir" op="equ" val="norm">
                    <dgm:alg type="hierChild">
                      <dgm:param type="linDir" val="fromL"/>
                    </dgm:alg>
                  </dgm:if>
                  <dgm:else name="Name17">
                    <dgm:alg type="hierChild">
                      <dgm:param type="linDir" val="fromR"/>
                    </dgm:alg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  <dgm:forEach name="repeat" axis="ch">
                  <dgm:forEach name="Name18" axis="self" ptType="parTrans" cnt="1">
                    <dgm:layoutNode name="Name19">
                      <dgm:alg type="conn">
                        <dgm:param type="dim" val="1D"/>
                        <dgm:param type="endSty" val="noArr"/>
                        <dgm:param type="connRout" val="bend"/>
                        <dgm:param type="begPts" val="bCtr"/>
                        <dgm:param type="endPts" val="tCtr"/>
                      </dgm:alg>
                      <dgm:shape xmlns:r="http://schemas.openxmlformats.org/officeDocument/2006/relationships" type="conn" r:blip="">
                        <dgm:adjLst/>
                      </dgm:shape>
                      <dgm:presOf axis="self"/>
                      <dgm:constrLst>
                        <dgm:constr type="w" val="1"/>
                        <dgm:constr type="h" val="1"/>
                        <dgm:constr type="begPad"/>
                        <dgm:constr type="endPad"/>
                      </dgm:constrLst>
                      <dgm:ruleLst/>
                    </dgm:layoutNode>
                  </dgm:forEach>
                  <dgm:forEach name="Name20" axis="self" ptType="node">
                    <dgm:layoutNode name="Name21">
                      <dgm:alg type="hierRoot"/>
                      <dgm:shape xmlns:r="http://schemas.openxmlformats.org/officeDocument/2006/relationships" r:blip="">
                        <dgm:adjLst/>
                      </dgm:shape>
                      <dgm:presOf/>
                      <dgm:constrLst/>
                      <dgm:ruleLst/>
                      <dgm:layoutNode name="level2Shape">
                        <dgm:alg type="tx"/>
                        <dgm:shape xmlns:r="http://schemas.openxmlformats.org/officeDocument/2006/relationships" type="roundRect" r:blip="">
                          <dgm:adjLst>
                            <dgm:adj idx="1" val="0.1"/>
                          </dgm:adjLst>
                        </dgm:shape>
                        <dgm:presOf axis="self"/>
                        <dgm:constrLst>
                          <dgm:constr type="primFontSz" val="65"/>
                          <dgm:constr type="tMarg" refType="primFontSz" fact="0.3"/>
                          <dgm:constr type="bMarg" refType="primFontSz" fact="0.3"/>
                          <dgm:constr type="lMarg" refType="primFontSz" fact="0.3"/>
                          <dgm:constr type="rMarg" refType="primFontSz" fact="0.3"/>
                        </dgm:constrLst>
                        <dgm:ruleLst>
                          <dgm:rule type="primFontSz" val="5" fact="NaN" max="NaN"/>
                        </dgm:ruleLst>
                      </dgm:layoutNode>
                      <dgm:layoutNode name="hierChild3">
                        <dgm:choose name="Name22">
                          <dgm:if name="Name23" func="var" arg="dir" op="equ" val="norm">
                            <dgm:alg type="hierChild">
                              <dgm:param type="linDir" val="fromL"/>
                            </dgm:alg>
                          </dgm:if>
                          <dgm:else name="Name24">
                            <dgm:alg type="hierChild">
                              <dgm:param type="linDir" val="fromR"/>
                            </dgm:alg>
                          </dgm:else>
                        </dgm:choose>
                        <dgm:shape xmlns:r="http://schemas.openxmlformats.org/officeDocument/2006/relationships" r:blip="">
                          <dgm:adjLst/>
                        </dgm:shape>
                        <dgm:presOf/>
                        <dgm:constrLst/>
                        <dgm:ruleLst/>
                        <dgm:forEach name="Name25" ref="repeat"/>
                      </dgm:layoutNode>
                    </dgm:layoutNode>
                  </dgm:forEach>
                </dgm:forEach>
              </dgm:layoutNode>
            </dgm:layoutNode>
          </dgm:forEach>
        </dgm:forEach>
      </dgm:layoutNode>
    </dgm:layoutNode>
    <dgm:layoutNode name="bgShapesFlow">
      <dgm:alg type="lin">
        <dgm:param type="linDir" val="fromT"/>
        <dgm:param type="nodeVertAlign" val="t"/>
        <dgm:param type="vertAlign" val="t"/>
        <dgm:param type="nodeHorzAlign" val="ctr"/>
      </dgm:alg>
      <dgm:shape xmlns:r="http://schemas.openxmlformats.org/officeDocument/2006/relationships" r:blip="">
        <dgm:adjLst/>
      </dgm:shape>
      <dgm:presOf/>
      <dgm:constrLst>
        <dgm:constr type="userB"/>
        <dgm:constr type="w" for="ch" forName="rectComp" refType="w"/>
        <dgm:constr type="h" for="ch" forName="rectComp" refType="h"/>
        <dgm:constr type="w" for="des" forName="bgRect" refType="w"/>
        <dgm:constr type="primFontSz" for="des" forName="bgRectTx" op="equ"/>
      </dgm:constrLst>
      <dgm:ruleLst/>
      <dgm:forEach name="Name26" axis="ch" ptType="node" st="2">
        <dgm:layoutNode name="rectComp">
          <dgm:alg type="composite">
            <dgm:param type="vertAlign" val="t"/>
            <dgm:param type="horzAlign" val="ctr"/>
          </dgm:alg>
          <dgm:shape xmlns:r="http://schemas.openxmlformats.org/officeDocument/2006/relationships" r:blip="">
            <dgm:adjLst/>
          </dgm:shape>
          <dgm:presOf/>
          <dgm:choose name="Name27">
            <dgm:if name="Name28" func="var" arg="dir" op="equ" val="norm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l" for="ch" forName="bgRectTx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if>
            <dgm:else name="Name29">
              <dgm:constrLst>
                <dgm:constr type="userA"/>
                <dgm:constr type="l" for="ch" forName="bgRect"/>
                <dgm:constr type="t" for="ch" forName="bgRect"/>
                <dgm:constr type="h" for="ch" forName="bgRect" refType="userA" fact="1.2"/>
                <dgm:constr type="r" for="ch" forName="bgRectTx" refType="w"/>
                <dgm:constr type="t" for="ch" forName="bgRectTx"/>
                <dgm:constr type="w" for="ch" forName="bgRectTx" refType="w" refFor="ch" refForName="bgRect" fact="0.3"/>
                <dgm:constr type="h" for="ch" forName="bgRectTx" refType="h" refFor="ch" refForName="bgRect" op="equ"/>
              </dgm:constrLst>
            </dgm:else>
          </dgm:choose>
          <dgm:ruleLst/>
          <dgm:layoutNode name="bgRect" styleLbl="bgShp">
            <dgm:alg type="sp"/>
            <dgm:shape xmlns:r="http://schemas.openxmlformats.org/officeDocument/2006/relationships" type="roundRect" r:blip="" zOrderOff="-999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bgRectTx" styleLbl="bgShp">
            <dgm:varLst>
              <dgm:bulletEnabled val="1"/>
            </dgm:varLst>
            <dgm:alg type="tx"/>
            <dgm:presOf axis="desOrSelf" ptType="node"/>
            <dgm:shape xmlns:r="http://schemas.openxmlformats.org/officeDocument/2006/relationships" type="rect" r:blip="" zOrderOff="-999" hideGeom="1">
              <dgm:adjLst/>
            </dgm:shape>
            <dgm:constrLst>
              <dgm:constr type="primFontSz" val="65"/>
            </dgm:constrLst>
            <dgm:ruleLst>
              <dgm:rule type="primFontSz" val="5" fact="NaN" max="NaN"/>
            </dgm:ruleLst>
          </dgm:layoutNode>
        </dgm:layoutNode>
        <dgm:choose name="Name30">
          <dgm:if name="Name31" axis="self" ptType="node" func="revPos" op="gte" val="2">
            <dgm:layoutNode name="spComp">
              <dgm:alg type="composite">
                <dgm:param type="vertAlign" val="t"/>
                <dgm:param type="horzAlign" val="ctr"/>
              </dgm:alg>
              <dgm:shape xmlns:r="http://schemas.openxmlformats.org/officeDocument/2006/relationships" r:blip="">
                <dgm:adjLst/>
              </dgm:shape>
              <dgm:presOf/>
              <dgm:constrLst>
                <dgm:constr type="userA"/>
                <dgm:constr type="userB"/>
                <dgm:constr type="l" for="ch" forName="vSp"/>
                <dgm:constr type="t" for="ch" forName="vSp"/>
                <dgm:constr type="h" for="ch" forName="vSp" refType="userB"/>
                <dgm:constr type="hOff" for="ch" forName="vSp" refType="userA" fact="-0.2"/>
              </dgm:constrLst>
              <dgm:ruleLst/>
              <dgm:layoutNode name="vSp">
                <dgm:alg type="sp"/>
                <dgm:shape xmlns:r="http://schemas.openxmlformats.org/officeDocument/2006/relationships" r:blip="">
                  <dgm:adjLst/>
                </dgm:shape>
                <dgm:presOf/>
                <dgm:constrLst/>
                <dgm:ruleLst/>
              </dgm:layoutNode>
            </dgm:layoutNode>
          </dgm:if>
          <dgm:else name="Name32"/>
        </dgm:choos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468E7B-91B5-8243-8144-A5FE216C8634}" type="datetimeFigureOut">
              <a:rPr lang="en-US" smtClean="0"/>
              <a:t>11/19/20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2DE9371-2DDF-2841-B52C-AF59E9988F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4266823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1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6.png"/><Relationship Id="rId4" Type="http://schemas.openxmlformats.org/officeDocument/2006/relationships/image" Target="../media/image15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jpeg"/><Relationship Id="rId3" Type="http://schemas.openxmlformats.org/officeDocument/2006/relationships/tags" Target="../tags/tag2.xml"/><Relationship Id="rId7" Type="http://schemas.openxmlformats.org/officeDocument/2006/relationships/oleObject" Target="../embeddings/oleObject1.bin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4.xml"/><Relationship Id="rId4" Type="http://schemas.openxmlformats.org/officeDocument/2006/relationships/tags" Target="../tags/tag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ags" Target="../tags/tag6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ags" Target="../tags/tag7.xml"/><Relationship Id="rId9" Type="http://schemas.openxmlformats.org/officeDocument/2006/relationships/image" Target="../media/image17.jpe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765012" y="2796377"/>
            <a:ext cx="3918389" cy="1265246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chemeClr val="bg1"/>
                </a:solidFill>
              </a:rPr>
              <a:t>www.peppol.eu</a:t>
            </a:r>
            <a:endParaRPr lang="en-GB" sz="1200" u="none" dirty="0">
              <a:solidFill>
                <a:schemeClr val="bg1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PEPPOL is owned by </a:t>
            </a:r>
            <a:r>
              <a:rPr lang="en-GB" sz="600" u="none" dirty="0" err="1">
                <a:solidFill>
                  <a:schemeClr val="bg1">
                    <a:alpha val="40000"/>
                  </a:schemeClr>
                </a:solidFill>
              </a:rPr>
              <a:t>OpenPeppol</a:t>
            </a:r>
            <a:r>
              <a:rPr lang="en-GB" sz="600" u="none" dirty="0">
                <a:solidFill>
                  <a:schemeClr val="bg1">
                    <a:alpha val="40000"/>
                  </a:scheme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320431550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141656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935999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Top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D778D66-CD32-8F4B-BC00-176C1E3DE64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3367897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>
            <a:extLst>
              <a:ext uri="{FF2B5EF4-FFF2-40B4-BE49-F238E27FC236}">
                <a16:creationId xmlns:a16="http://schemas.microsoft.com/office/drawing/2014/main" id="{04D5368E-8BB6-134E-81DA-5CF4EF87F36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773152" y="1469985"/>
            <a:ext cx="10613985" cy="5388014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558A2E87-725C-704B-A400-9AFF25B1851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18360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With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244102E-C22E-BE46-ADAD-5A7FFEA06DFD}"/>
              </a:ext>
            </a:extLst>
          </p:cNvPr>
          <p:cNvSpPr/>
          <p:nvPr userDrawn="1"/>
        </p:nvSpPr>
        <p:spPr>
          <a:xfrm>
            <a:off x="6274040" y="2014396"/>
            <a:ext cx="5113097" cy="4312259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5" y="2014539"/>
            <a:ext cx="5113097" cy="4312116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6685E4-A6C1-C743-AB56-4C134CA17FD1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2207741"/>
            <a:ext cx="4413250" cy="3888259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E28BB382-0E43-254D-AF06-EC9A555C68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18968" y="2207741"/>
            <a:ext cx="4413250" cy="3888259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1596082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Slide With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Rectangle 15">
            <a:extLst>
              <a:ext uri="{FF2B5EF4-FFF2-40B4-BE49-F238E27FC236}">
                <a16:creationId xmlns:a16="http://schemas.microsoft.com/office/drawing/2014/main" id="{EAB26F71-0A2F-2042-A44A-272B58C36BFB}"/>
              </a:ext>
            </a:extLst>
          </p:cNvPr>
          <p:cNvSpPr/>
          <p:nvPr userDrawn="1"/>
        </p:nvSpPr>
        <p:spPr>
          <a:xfrm>
            <a:off x="801496" y="2941117"/>
            <a:ext cx="3285596" cy="2861953"/>
          </a:xfrm>
          <a:prstGeom prst="rect">
            <a:avLst/>
          </a:prstGeom>
          <a:solidFill>
            <a:srgbClr val="00BAFF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5E46302-BFBE-A44A-BEA7-F2E070161390}"/>
              </a:ext>
            </a:extLst>
          </p:cNvPr>
          <p:cNvSpPr/>
          <p:nvPr userDrawn="1"/>
        </p:nvSpPr>
        <p:spPr>
          <a:xfrm>
            <a:off x="4453202" y="2941117"/>
            <a:ext cx="3285596" cy="2861953"/>
          </a:xfrm>
          <a:prstGeom prst="rect">
            <a:avLst/>
          </a:prstGeom>
          <a:solidFill>
            <a:srgbClr val="007AD7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E7E68EF7-8E9B-604E-A002-6DA88D4B5844}"/>
              </a:ext>
            </a:extLst>
          </p:cNvPr>
          <p:cNvSpPr/>
          <p:nvPr userDrawn="1"/>
        </p:nvSpPr>
        <p:spPr>
          <a:xfrm>
            <a:off x="8101759" y="2941117"/>
            <a:ext cx="3285596" cy="2861953"/>
          </a:xfrm>
          <a:prstGeom prst="rect">
            <a:avLst/>
          </a:prstGeom>
          <a:solidFill>
            <a:srgbClr val="00326D"/>
          </a:solidFill>
          <a:ln>
            <a:noFill/>
          </a:ln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4EA74456-E8B8-CA46-8A56-B65AED980E9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146175" y="3181350"/>
            <a:ext cx="2502382" cy="2317750"/>
          </a:xfrm>
        </p:spPr>
        <p:txBody>
          <a:bodyPr>
            <a:noAutofit/>
          </a:bodyPr>
          <a:lstStyle>
            <a:lvl1pPr>
              <a:buClr>
                <a:srgbClr val="00326D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4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5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1CA6ABCC-1C55-6C45-B30C-D8BECE62CDD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55765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D0D7BBC-8E0B-F24A-B2C6-B725965141B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7058" y="3181350"/>
            <a:ext cx="2645160" cy="2317750"/>
          </a:xfrm>
        </p:spPr>
        <p:txBody>
          <a:bodyPr>
            <a:noAutofit/>
          </a:bodyPr>
          <a:lstStyle>
            <a:lvl1pPr>
              <a:buClr>
                <a:srgbClr val="F7F9FC"/>
              </a:buClr>
              <a:defRPr>
                <a:solidFill>
                  <a:schemeClr val="bg1"/>
                </a:solidFill>
              </a:defRPr>
            </a:lvl1pPr>
            <a:lvl2pPr marL="685800" indent="-228600">
              <a:buFontTx/>
              <a:buBlip>
                <a:blip r:embed="rId6"/>
              </a:buBlip>
              <a:defRPr>
                <a:solidFill>
                  <a:schemeClr val="bg1"/>
                </a:solidFill>
              </a:defRPr>
            </a:lvl2pPr>
            <a:lvl3pPr marL="11430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3pPr>
            <a:lvl4pPr marL="16002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4pPr>
            <a:lvl5pPr marL="2057400" indent="-228600">
              <a:buFontTx/>
              <a:buBlip>
                <a:blip r:embed="rId7"/>
              </a:buBlip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4256109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708BAFF8-81B2-BE4A-8770-987BE457B37D}"/>
              </a:ext>
            </a:extLst>
          </p:cNvPr>
          <p:cNvSpPr/>
          <p:nvPr userDrawn="1"/>
        </p:nvSpPr>
        <p:spPr>
          <a:xfrm>
            <a:off x="7107382" y="0"/>
            <a:ext cx="5084618" cy="6858000"/>
          </a:xfrm>
          <a:prstGeom prst="rect">
            <a:avLst/>
          </a:prstGeom>
          <a:solidFill>
            <a:srgbClr val="007AD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7107382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4639973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464019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4627611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4639973" cy="1221363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58BF75F-7C85-7D48-A4BD-E2EE6A730EC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>
            <a:alphaModFix amt="10000"/>
          </a:blip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6E5166A8-1B73-BC4C-8814-4565CFCD7B8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1260474"/>
            <a:ext cx="5672138" cy="4226400"/>
          </a:xfrm>
          <a:solidFill>
            <a:schemeClr val="bg1"/>
          </a:solidFill>
          <a:effectLst>
            <a:outerShdw blurRad="444500" dist="381000" dir="3000000" algn="ctr" rotWithShape="0">
              <a:srgbClr val="000000">
                <a:alpha val="30000"/>
              </a:srgbClr>
            </a:outerShdw>
          </a:effectLst>
        </p:spPr>
        <p:txBody>
          <a:bodyPr/>
          <a:lstStyle/>
          <a:p>
            <a:r>
              <a:rPr lang="en-US"/>
              <a:t>Click icon to add pict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7931053-3A45-8D4B-A2D7-2642339734C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2781" y="3889375"/>
            <a:ext cx="4662344" cy="2438400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3744302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ac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EFD9DF8B-7625-644C-9B05-4EFE9453FB72}"/>
              </a:ext>
            </a:extLst>
          </p:cNvPr>
          <p:cNvSpPr txBox="1">
            <a:spLocks/>
          </p:cNvSpPr>
          <p:nvPr userDrawn="1"/>
        </p:nvSpPr>
        <p:spPr>
          <a:xfrm>
            <a:off x="6412992" y="2239617"/>
            <a:ext cx="2678889" cy="2628030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GB" sz="1600" spc="300" dirty="0"/>
              <a:t>MORE INFORMATION</a:t>
            </a:r>
          </a:p>
          <a:p>
            <a:endParaRPr lang="en-GB" sz="1600" dirty="0"/>
          </a:p>
          <a:p>
            <a:r>
              <a:rPr lang="en-GB" sz="2400" dirty="0" err="1"/>
              <a:t>info@peppol.eu</a:t>
            </a:r>
            <a:endParaRPr lang="en-GB" sz="2400" dirty="0"/>
          </a:p>
          <a:p>
            <a:r>
              <a:rPr lang="en-GB" sz="2400" u="none" dirty="0">
                <a:solidFill>
                  <a:schemeClr val="bg1"/>
                </a:solidFill>
              </a:rPr>
              <a:t>www.peppol.eu</a:t>
            </a:r>
          </a:p>
          <a:p>
            <a:endParaRPr lang="en-GB" sz="1600" dirty="0"/>
          </a:p>
          <a:p>
            <a:endParaRPr lang="en-GB" sz="1000" spc="300" dirty="0"/>
          </a:p>
          <a:p>
            <a:r>
              <a:rPr lang="en-GB" sz="1600" spc="300" dirty="0"/>
              <a:t>FOLLOW US</a:t>
            </a:r>
          </a:p>
          <a:p>
            <a:endParaRPr lang="en-GB" sz="1600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16D9B8C-07DD-414F-B44B-A0104CB10BA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7131682" y="4376281"/>
            <a:ext cx="491366" cy="491366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DDF1389A-0253-2741-8F9C-743A64821617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rcRect/>
          <a:stretch/>
        </p:blipFill>
        <p:spPr>
          <a:xfrm>
            <a:off x="6526654" y="4376281"/>
            <a:ext cx="491366" cy="491366"/>
          </a:xfrm>
          <a:prstGeom prst="rect">
            <a:avLst/>
          </a:prstGeom>
        </p:spPr>
      </p:pic>
      <p:pic>
        <p:nvPicPr>
          <p:cNvPr id="14" name="Picture 13" descr="A close up of a logo&#10;&#10;Description automatically generated">
            <a:extLst>
              <a:ext uri="{FF2B5EF4-FFF2-40B4-BE49-F238E27FC236}">
                <a16:creationId xmlns:a16="http://schemas.microsoft.com/office/drawing/2014/main" id="{F367EEC1-A766-7745-96F5-B9DC4133A90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3100120" y="1990354"/>
            <a:ext cx="2817625" cy="28772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126169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Title and numb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4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</a:lstStyle>
          <a:p>
            <a:r>
              <a:rPr lang="nb-NO" dirty="0"/>
              <a:t>Klikk for å redigere tittelstil</a:t>
            </a:r>
            <a:endParaRPr lang="de-DE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1412694"/>
          </a:xfrm>
        </p:spPr>
        <p:txBody>
          <a:bodyPr/>
          <a:lstStyle>
            <a:lvl1pPr>
              <a:defRPr>
                <a:solidFill>
                  <a:schemeClr val="bg2">
                    <a:lumMod val="25000"/>
                  </a:schemeClr>
                </a:solidFill>
              </a:defRPr>
            </a:lvl1pPr>
            <a:lvl2pPr>
              <a:defRPr>
                <a:solidFill>
                  <a:schemeClr val="bg2">
                    <a:lumMod val="25000"/>
                  </a:schemeClr>
                </a:solidFill>
              </a:defRPr>
            </a:lvl2pPr>
            <a:lvl3pPr marL="489347" indent="-257175">
              <a:buClr>
                <a:schemeClr val="accent1"/>
              </a:buClr>
              <a:buFont typeface="+mj-lt"/>
              <a:buAutoNum type="arabicPeriod"/>
              <a:defRPr>
                <a:solidFill>
                  <a:schemeClr val="bg2">
                    <a:lumMod val="25000"/>
                  </a:schemeClr>
                </a:solidFill>
              </a:defRPr>
            </a:lvl3pPr>
            <a:lvl4pPr marL="688181" indent="-180975">
              <a:buClr>
                <a:schemeClr val="accent1"/>
              </a:buClr>
              <a:buFont typeface="+mj-lt"/>
              <a:buAutoNum type="alphaLcPeriod"/>
              <a:defRPr>
                <a:solidFill>
                  <a:schemeClr val="bg2">
                    <a:lumMod val="25000"/>
                  </a:schemeClr>
                </a:solidFill>
              </a:defRPr>
            </a:lvl4pPr>
            <a:lvl5pPr>
              <a:buFont typeface="Symbol" pitchFamily="18" charset="2"/>
              <a:buChar char="-"/>
              <a:defRPr/>
            </a:lvl5pPr>
          </a:lstStyle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</p:txBody>
      </p:sp>
      <p:pic>
        <p:nvPicPr>
          <p:cNvPr id="10" name="Grafik 30" descr="PEPPOL_Logo__RGB.jpg"/>
          <p:cNvPicPr>
            <a:picLocks noChangeAspect="1"/>
          </p:cNvPicPr>
          <p:nvPr userDrawn="1">
            <p:custDataLst>
              <p:tags r:id="rId3"/>
            </p:custDataLst>
          </p:nvPr>
        </p:nvPicPr>
        <p:blipFill>
          <a:blip r:embed="rId8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13"/>
          <p:cNvSpPr>
            <a:spLocks noGrp="1" noChangeArrowheads="1"/>
          </p:cNvSpPr>
          <p:nvPr>
            <p:ph type="sldNum" sz="quarter" idx="4"/>
            <p:custDataLst>
              <p:tags r:id="rId4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14" name="Rectangle 15"/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80447757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AutoShape 2"/>
          <p:cNvGraphicFramePr>
            <a:graphicFrameLocks/>
          </p:cNvGraphicFramePr>
          <p:nvPr/>
        </p:nvGraphicFramePr>
        <p:xfrm>
          <a:off x="1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8" imgW="0" imgH="0" progId="">
                  <p:embed/>
                </p:oleObj>
              </mc:Choice>
              <mc:Fallback>
                <p:oleObj name="think-cell Slide" r:id="rId8" imgW="0" imgH="0" progId="">
                  <p:embed/>
                  <p:pic>
                    <p:nvPicPr>
                      <p:cNvPr id="2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Line 7"/>
          <p:cNvSpPr>
            <a:spLocks noChangeShapeType="1"/>
          </p:cNvSpPr>
          <p:nvPr>
            <p:custDataLst>
              <p:tags r:id="rId2"/>
            </p:custDataLst>
          </p:nvPr>
        </p:nvSpPr>
        <p:spPr bwMode="auto">
          <a:xfrm>
            <a:off x="613833" y="1154113"/>
            <a:ext cx="10972800" cy="0"/>
          </a:xfrm>
          <a:prstGeom prst="line">
            <a:avLst/>
          </a:prstGeom>
          <a:noFill/>
          <a:ln w="9525">
            <a:solidFill>
              <a:srgbClr val="707173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 kern="0">
              <a:solidFill>
                <a:sysClr val="windowText" lastClr="000000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sp>
        <p:nvSpPr>
          <p:cNvPr id="4" name="Line 8"/>
          <p:cNvSpPr>
            <a:spLocks noChangeShapeType="1"/>
          </p:cNvSpPr>
          <p:nvPr>
            <p:custDataLst>
              <p:tags r:id="rId3"/>
            </p:custDataLst>
          </p:nvPr>
        </p:nvSpPr>
        <p:spPr bwMode="auto">
          <a:xfrm>
            <a:off x="613833" y="6184900"/>
            <a:ext cx="10972800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1350">
              <a:solidFill>
                <a:srgbClr val="707173"/>
              </a:solidFill>
              <a:latin typeface="Arial"/>
              <a:ea typeface="ＭＳ Ｐゴシック" pitchFamily="84" charset="-128"/>
              <a:cs typeface="Arial" charset="0"/>
            </a:endParaRPr>
          </a:p>
        </p:txBody>
      </p:sp>
      <p:pic>
        <p:nvPicPr>
          <p:cNvPr id="7" name="Grafik 30" descr="PEPPOL_Logo__RGB.jpg"/>
          <p:cNvPicPr>
            <a:picLocks noChangeAspect="1"/>
          </p:cNvPicPr>
          <p:nvPr userDrawn="1">
            <p:custDataLst>
              <p:tags r:id="rId4"/>
            </p:custDataLst>
          </p:nvPr>
        </p:nvPicPr>
        <p:blipFill>
          <a:blip r:embed="rId9"/>
          <a:srcRect/>
          <a:stretch>
            <a:fillRect/>
          </a:stretch>
        </p:blipFill>
        <p:spPr bwMode="auto">
          <a:xfrm>
            <a:off x="9303414" y="396877"/>
            <a:ext cx="2600325" cy="590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8" name="Rectangle 13"/>
          <p:cNvSpPr>
            <a:spLocks noGrp="1" noChangeArrowheads="1"/>
          </p:cNvSpPr>
          <p:nvPr>
            <p:ph type="sldNum" sz="quarter" idx="4"/>
            <p:custDataLst>
              <p:tags r:id="rId5"/>
            </p:custDataLst>
          </p:nvPr>
        </p:nvSpPr>
        <p:spPr bwMode="auto">
          <a:xfrm>
            <a:off x="609600" y="6462997"/>
            <a:ext cx="256480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sz="525">
                <a:solidFill>
                  <a:srgbClr val="707173"/>
                </a:solidFill>
                <a:latin typeface="Arial" pitchFamily="84" charset="0"/>
                <a:ea typeface="Arial" pitchFamily="84" charset="0"/>
                <a:cs typeface="Arial" pitchFamily="84" charset="0"/>
              </a:defRPr>
            </a:lvl1pPr>
          </a:lstStyle>
          <a:p>
            <a:pPr defTabSz="342900">
              <a:defRPr/>
            </a:pPr>
            <a:r>
              <a:rPr lang="de-DE"/>
              <a:t>Page </a:t>
            </a:r>
            <a:fld id="{3FE35EF2-F7BB-43EF-A7CB-B668357DD6FC}" type="slidenum">
              <a:rPr lang="de-DE" smtClean="0"/>
              <a:pPr defTabSz="342900">
                <a:defRPr/>
              </a:pPr>
              <a:t>‹#›</a:t>
            </a:fld>
            <a:endParaRPr lang="de-DE"/>
          </a:p>
        </p:txBody>
      </p:sp>
      <p:sp>
        <p:nvSpPr>
          <p:cNvPr id="9" name="Rectangle 15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10279158" y="6462997"/>
            <a:ext cx="1303242" cy="807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prstTxWarp prst="textNoShape">
              <a:avLst/>
            </a:prstTxWarp>
            <a:spAutoFit/>
          </a:bodyPr>
          <a:lstStyle/>
          <a:p>
            <a:pPr>
              <a:defRPr/>
            </a:pPr>
            <a:r>
              <a:rPr lang="en-US" sz="525" dirty="0">
                <a:solidFill>
                  <a:srgbClr val="707173"/>
                </a:solidFill>
                <a:latin typeface="Arial" pitchFamily="84" charset="0"/>
                <a:ea typeface="ＭＳ Ｐゴシック" pitchFamily="84" charset="-128"/>
                <a:cs typeface="Arial" charset="0"/>
              </a:rPr>
              <a:t>PEPPOL is owned by OpenPEPPOL AISBL</a:t>
            </a:r>
          </a:p>
        </p:txBody>
      </p:sp>
    </p:spTree>
    <p:extLst>
      <p:ext uri="{BB962C8B-B14F-4D97-AF65-F5344CB8AC3E}">
        <p14:creationId xmlns:p14="http://schemas.microsoft.com/office/powerpoint/2010/main" val="374010437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D8FB4DA1-A181-7C44-9957-E6D8276A45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1765012" y="2796377"/>
            <a:ext cx="3918389" cy="1265245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375834" y="2939143"/>
            <a:ext cx="4910137" cy="489857"/>
          </a:xfrm>
        </p:spPr>
        <p:txBody>
          <a:bodyPr>
            <a:noAutofit/>
          </a:bodyPr>
          <a:lstStyle>
            <a:lvl1pPr marL="0" indent="0">
              <a:buNone/>
              <a:defRPr sz="3000">
                <a:solidFill>
                  <a:srgbClr val="00326D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Title</a:t>
            </a:r>
            <a:endParaRPr lang="en-US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E593112-813A-034D-8B26-84A5BA947F3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375834" y="3587297"/>
            <a:ext cx="4910137" cy="358775"/>
          </a:xfrm>
        </p:spPr>
        <p:txBody>
          <a:bodyPr>
            <a:normAutofit/>
          </a:bodyPr>
          <a:lstStyle>
            <a:lvl1pPr marL="0" indent="0">
              <a:buNone/>
              <a:defRPr sz="2000">
                <a:solidFill>
                  <a:srgbClr val="007AD7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Presentation Subtitle</a:t>
            </a:r>
            <a:endParaRPr lang="en-US" dirty="0"/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64DD5BA8-322E-6248-9A23-99B741B3EB5A}"/>
              </a:ext>
            </a:extLst>
          </p:cNvPr>
          <p:cNvSpPr txBox="1">
            <a:spLocks/>
          </p:cNvSpPr>
          <p:nvPr userDrawn="1"/>
        </p:nvSpPr>
        <p:spPr>
          <a:xfrm>
            <a:off x="5185288" y="5739826"/>
            <a:ext cx="2149677" cy="33268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1200" u="none" dirty="0" err="1">
                <a:solidFill>
                  <a:srgbClr val="00326D"/>
                </a:solidFill>
              </a:rPr>
              <a:t>www.peppol.eu</a:t>
            </a:r>
            <a:endParaRPr lang="en-GB" sz="1200" u="none" dirty="0">
              <a:solidFill>
                <a:srgbClr val="00326D"/>
              </a:solidFill>
            </a:endParaRPr>
          </a:p>
        </p:txBody>
      </p:sp>
      <p:sp>
        <p:nvSpPr>
          <p:cNvPr id="19" name="Title 1">
            <a:extLst>
              <a:ext uri="{FF2B5EF4-FFF2-40B4-BE49-F238E27FC236}">
                <a16:creationId xmlns:a16="http://schemas.microsoft.com/office/drawing/2014/main" id="{EA2BD5A9-F3D8-384A-8158-C86A25949298}"/>
              </a:ext>
            </a:extLst>
          </p:cNvPr>
          <p:cNvSpPr txBox="1">
            <a:spLocks/>
          </p:cNvSpPr>
          <p:nvPr userDrawn="1"/>
        </p:nvSpPr>
        <p:spPr>
          <a:xfrm>
            <a:off x="5233707" y="6068782"/>
            <a:ext cx="2052839" cy="1881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ctr"/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PEPPOL is owned by </a:t>
            </a:r>
            <a:r>
              <a:rPr lang="en-GB" sz="600" u="none" dirty="0" err="1">
                <a:solidFill>
                  <a:srgbClr val="00326D">
                    <a:alpha val="40000"/>
                  </a:srgbClr>
                </a:solidFill>
              </a:rPr>
              <a:t>OpenPEPPOL</a:t>
            </a:r>
            <a:r>
              <a:rPr lang="en-GB" sz="600" u="none" dirty="0">
                <a:solidFill>
                  <a:srgbClr val="00326D">
                    <a:alpha val="40000"/>
                  </a:srgbClr>
                </a:solidFill>
              </a:rPr>
              <a:t> AISBL</a:t>
            </a:r>
          </a:p>
        </p:txBody>
      </p:sp>
    </p:spTree>
    <p:extLst>
      <p:ext uri="{BB962C8B-B14F-4D97-AF65-F5344CB8AC3E}">
        <p14:creationId xmlns:p14="http://schemas.microsoft.com/office/powerpoint/2010/main" val="707455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C7232CE-164E-1747-91B0-7DC3B34D2DC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09BF46-DF89-DB44-9C1D-F6830AE36D1F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640931" y="3311392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Quote text to go here</a:t>
            </a:r>
            <a:endParaRPr lang="en-US" dirty="0"/>
          </a:p>
        </p:txBody>
      </p:sp>
      <p:pic>
        <p:nvPicPr>
          <p:cNvPr id="4" name="Picture 3" descr="A picture containing necklace, drawing, knot&#10;&#10;Description automatically generated">
            <a:extLst>
              <a:ext uri="{FF2B5EF4-FFF2-40B4-BE49-F238E27FC236}">
                <a16:creationId xmlns:a16="http://schemas.microsoft.com/office/drawing/2014/main" id="{F5868033-A3CE-3A4A-831A-E58E65705D9C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98665" y="2279971"/>
            <a:ext cx="1394669" cy="659596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9D1F0EA-E48B-F346-A71F-DC5FD25BA924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640931" y="4041745"/>
            <a:ext cx="4910137" cy="489857"/>
          </a:xfrm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30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dirty="0"/>
              <a:t>– Quote autho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176705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153024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3331165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ide Text Box No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254668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1551967"/>
            <a:ext cx="10582492" cy="4007459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3343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560276"/>
          </a:xfrm>
        </p:spPr>
        <p:txBody>
          <a:bodyPr>
            <a:noAutofit/>
          </a:bodyPr>
          <a:lstStyle>
            <a:lvl1pPr>
              <a:defRPr sz="3000">
                <a:solidFill>
                  <a:srgbClr val="00326D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7" name="Picture 6" descr="A close up of a sign&#10;&#10;Description automatically generated">
            <a:extLst>
              <a:ext uri="{FF2B5EF4-FFF2-40B4-BE49-F238E27FC236}">
                <a16:creationId xmlns:a16="http://schemas.microsoft.com/office/drawing/2014/main" id="{1E7A7CE2-0EA6-E545-8AB3-15B62C1F143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0296979" y="365125"/>
            <a:ext cx="1470479" cy="356113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3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E098D51-E2DC-CB48-9F49-4A03E5CEB9F3}"/>
              </a:ext>
            </a:extLst>
          </p:cNvPr>
          <p:cNvCxnSpPr>
            <a:cxnSpLocks/>
          </p:cNvCxnSpPr>
          <p:nvPr userDrawn="1"/>
        </p:nvCxnSpPr>
        <p:spPr>
          <a:xfrm>
            <a:off x="804646" y="1717964"/>
            <a:ext cx="1058270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3"/>
            <a:ext cx="8489950" cy="568325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7AD7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 numCol="2" spcCol="18000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275438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3BBD93B1-4217-6E4F-986C-9BA606757A9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2353110"/>
            <a:ext cx="5291137" cy="361581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rgbClr val="00326D"/>
                </a:solidFill>
              </a:defRPr>
            </a:lvl1pPr>
            <a:lvl2pPr marL="457200" indent="0">
              <a:buNone/>
              <a:defRPr sz="1800">
                <a:solidFill>
                  <a:srgbClr val="00326D"/>
                </a:solidFill>
              </a:defRPr>
            </a:lvl2pPr>
            <a:lvl3pPr marL="914400" indent="0">
              <a:buNone/>
              <a:defRPr sz="1800">
                <a:solidFill>
                  <a:srgbClr val="00326D"/>
                </a:solidFill>
              </a:defRPr>
            </a:lvl3pPr>
            <a:lvl4pPr marL="1371600" indent="0">
              <a:buNone/>
              <a:defRPr sz="1800">
                <a:solidFill>
                  <a:srgbClr val="00326D"/>
                </a:solidFill>
              </a:defRPr>
            </a:lvl4pPr>
            <a:lvl5pPr marL="1828800" indent="0">
              <a:buNone/>
              <a:defRPr sz="1800">
                <a:solidFill>
                  <a:srgbClr val="00326D"/>
                </a:solidFill>
              </a:defRPr>
            </a:lvl5pPr>
          </a:lstStyle>
          <a:p>
            <a:pPr lvl="0"/>
            <a:r>
              <a:rPr lang="en-GB" dirty="0"/>
              <a:t>Slide paragraph text her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FAAFD42-CBC1-F74F-BA25-B38FDE105F9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876550"/>
            <a:ext cx="5291137" cy="2682875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0374645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Slide Blue Top Wide Text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A6213298-33BC-FD4E-A08F-10E954352FF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b="72658"/>
          <a:stretch/>
        </p:blipFill>
        <p:spPr>
          <a:xfrm>
            <a:off x="0" y="0"/>
            <a:ext cx="12192000" cy="2152891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3D40DAA5-2881-6B4B-8C37-F90CF5E44057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rcRect/>
          <a:stretch/>
        </p:blipFill>
        <p:spPr>
          <a:xfrm>
            <a:off x="10296979" y="365125"/>
            <a:ext cx="1470479" cy="356112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9F9EC6D9-7D00-B140-8430-A2A7EFEB8FBD}"/>
              </a:ext>
            </a:extLst>
          </p:cNvPr>
          <p:cNvSpPr/>
          <p:nvPr userDrawn="1"/>
        </p:nvSpPr>
        <p:spPr>
          <a:xfrm>
            <a:off x="0" y="1739578"/>
            <a:ext cx="12192000" cy="5118422"/>
          </a:xfrm>
          <a:prstGeom prst="rect">
            <a:avLst/>
          </a:prstGeom>
          <a:solidFill>
            <a:srgbClr val="F7F9F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8C39EAA-CC35-2F47-89DA-800FB34980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2781" y="589651"/>
            <a:ext cx="8512629" cy="384059"/>
          </a:xfrm>
        </p:spPr>
        <p:txBody>
          <a:bodyPr>
            <a:noAutofit/>
          </a:bodyPr>
          <a:lstStyle>
            <a:lvl1pPr>
              <a:defRPr sz="3000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Slide title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3F0C665-899C-944A-8251-6E2661F5E11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/>
          <a:srcRect r="23862" b="24625"/>
          <a:stretch/>
        </p:blipFill>
        <p:spPr>
          <a:xfrm>
            <a:off x="7400925" y="2014539"/>
            <a:ext cx="4791075" cy="4843462"/>
          </a:xfrm>
          <a:prstGeom prst="rect">
            <a:avLst/>
          </a:prstGeom>
        </p:spPr>
      </p:pic>
      <p:sp>
        <p:nvSpPr>
          <p:cNvPr id="13" name="Slide Number Placeholder 5">
            <a:extLst>
              <a:ext uri="{FF2B5EF4-FFF2-40B4-BE49-F238E27FC236}">
                <a16:creationId xmlns:a16="http://schemas.microsoft.com/office/drawing/2014/main" id="{92090774-3917-F24B-9782-226E3E93BD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565393" y="6169858"/>
            <a:ext cx="40413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rgbClr val="007AD7"/>
                </a:solidFill>
              </a:defRPr>
            </a:lvl1pPr>
          </a:lstStyle>
          <a:p>
            <a:fld id="{94CA340D-312D-204F-893F-B70EFC62E1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13B80118-C4A5-8247-8F04-4FF22065A1C3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04863" y="1149784"/>
            <a:ext cx="8489950" cy="389576"/>
          </a:xfrm>
        </p:spPr>
        <p:txBody>
          <a:bodyPr>
            <a:noAutofit/>
          </a:bodyPr>
          <a:lstStyle>
            <a:lvl1pPr marL="0" indent="0">
              <a:buNone/>
              <a:defRPr sz="20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lide subtitle</a:t>
            </a:r>
            <a:endParaRPr lang="en-US" dirty="0"/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34E99A6B-1FDE-0E49-9942-EC74E92CA26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2146654"/>
            <a:ext cx="10582492" cy="3412772"/>
          </a:xfrm>
        </p:spPr>
        <p:txBody>
          <a:bodyPr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1902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0547D0C-B625-0C4B-A036-692DC325CC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840CE0E-3D1D-574F-BD6F-521510223DA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3D5CFB4A-D389-2C41-9D48-BDF357A0D44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3D582E0-4596-5E40-9B2F-B7E327C0CAD7}" type="datetime1">
              <a:rPr lang="en-GB" smtClean="0"/>
              <a:t>19/11/2019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34AE54F-FED9-2A41-8618-CC9E03F9F85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ACDA4CD-8FF0-754C-A598-DC59CD84B0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4CA340D-312D-204F-893F-B70EFC62E15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5638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7" r:id="rId2"/>
    <p:sldLayoutId id="2147483656" r:id="rId3"/>
    <p:sldLayoutId id="2147483651" r:id="rId4"/>
    <p:sldLayoutId id="2147483659" r:id="rId5"/>
    <p:sldLayoutId id="2147483663" r:id="rId6"/>
    <p:sldLayoutId id="2147483661" r:id="rId7"/>
    <p:sldLayoutId id="2147483658" r:id="rId8"/>
    <p:sldLayoutId id="2147483660" r:id="rId9"/>
    <p:sldLayoutId id="2147483664" r:id="rId10"/>
    <p:sldLayoutId id="2147483662" r:id="rId11"/>
    <p:sldLayoutId id="2147483655" r:id="rId12"/>
    <p:sldLayoutId id="2147483653" r:id="rId13"/>
    <p:sldLayoutId id="2147483654" r:id="rId14"/>
    <p:sldLayoutId id="2147483652" r:id="rId15"/>
    <p:sldLayoutId id="2147483650" r:id="rId16"/>
    <p:sldLayoutId id="2147483665" r:id="rId17"/>
    <p:sldLayoutId id="2147483666" r:id="rId1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rgbClr val="00326D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Clr>
          <a:srgbClr val="007AD7"/>
        </a:buClr>
        <a:buFont typeface="Arial" panose="020B0604020202020204" pitchFamily="34" charset="0"/>
        <a:buChar char="•"/>
        <a:defRPr sz="20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0"/>
        </a:buBlip>
        <a:defRPr sz="18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21"/>
        </a:buBlip>
        <a:defRPr sz="1600" kern="1200">
          <a:solidFill>
            <a:srgbClr val="00326D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17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FC6E4B2-BA46-457D-801E-C493EADB228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GB" dirty="0"/>
              <a:t>Peppol International Invoice</a:t>
            </a:r>
            <a:endParaRPr lang="is-I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4F58210-06F5-40C1-BF37-028C84B1F65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75834" y="3587297"/>
            <a:ext cx="4910137" cy="358775"/>
          </a:xfrm>
        </p:spPr>
        <p:txBody>
          <a:bodyPr>
            <a:normAutofit lnSpcReduction="10000"/>
          </a:bodyPr>
          <a:lstStyle/>
          <a:p>
            <a:r>
              <a:rPr lang="en-GB" dirty="0"/>
              <a:t>05 — Meeting slides 2019-11-19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66337891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BF39F5-C1C9-44A4-85D6-F95B99FDBC7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ules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32F399-C1BC-4543-850B-F44F0AE0A5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1BA403-D529-4AB2-9147-354B804F3EE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Structural rules</a:t>
            </a:r>
          </a:p>
          <a:p>
            <a:pPr lvl="1"/>
            <a:r>
              <a:rPr lang="en-GB" dirty="0"/>
              <a:t>Rules that support consistency in the content.</a:t>
            </a:r>
          </a:p>
          <a:p>
            <a:r>
              <a:rPr lang="en-GB" dirty="0"/>
              <a:t>Calculations</a:t>
            </a:r>
          </a:p>
          <a:p>
            <a:pPr lvl="1"/>
            <a:r>
              <a:rPr lang="en-GB" dirty="0"/>
              <a:t>Enforcing relationships between business terms.</a:t>
            </a:r>
          </a:p>
          <a:p>
            <a:r>
              <a:rPr lang="en-GB" dirty="0"/>
              <a:t>Content</a:t>
            </a:r>
          </a:p>
          <a:p>
            <a:pPr lvl="1"/>
            <a:r>
              <a:rPr lang="en-GB" dirty="0"/>
              <a:t>Rules that require that specific content is in the invoice.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68797565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1EC62F2-04C7-425C-81F2-497B8A263FF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de lists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3F43B0-7D57-40F7-8DDE-6C446B488E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3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152C673-147B-4299-93CE-B6D3E239A70D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04863" y="1551967"/>
            <a:ext cx="10582492" cy="5081589"/>
          </a:xfrm>
        </p:spPr>
        <p:txBody>
          <a:bodyPr/>
          <a:lstStyle/>
          <a:p>
            <a:r>
              <a:rPr lang="is-IS" sz="1100" dirty="0" err="1"/>
              <a:t>Generic</a:t>
            </a:r>
            <a:r>
              <a:rPr lang="is-IS" sz="1100" dirty="0"/>
              <a:t> </a:t>
            </a:r>
            <a:r>
              <a:rPr lang="is-IS" sz="1100" dirty="0" err="1"/>
              <a:t>codes</a:t>
            </a:r>
            <a:r>
              <a:rPr lang="is-IS" sz="1100" dirty="0"/>
              <a:t> </a:t>
            </a:r>
            <a:r>
              <a:rPr lang="is-IS" sz="1100" dirty="0" err="1"/>
              <a:t>and</a:t>
            </a:r>
            <a:r>
              <a:rPr lang="is-IS" sz="1100" dirty="0"/>
              <a:t> </a:t>
            </a:r>
            <a:r>
              <a:rPr lang="is-IS" sz="1100" dirty="0" err="1"/>
              <a:t>used</a:t>
            </a:r>
            <a:r>
              <a:rPr lang="is-IS" sz="1100" dirty="0"/>
              <a:t> </a:t>
            </a:r>
            <a:r>
              <a:rPr lang="is-IS" sz="1100" dirty="0" err="1"/>
              <a:t>in</a:t>
            </a:r>
            <a:r>
              <a:rPr lang="is-IS" sz="1100" dirty="0"/>
              <a:t> full</a:t>
            </a:r>
          </a:p>
          <a:p>
            <a:pPr lvl="1"/>
            <a:r>
              <a:rPr lang="is-IS" sz="900" dirty="0"/>
              <a:t>ISO 3166-1 — Country </a:t>
            </a:r>
            <a:r>
              <a:rPr lang="is-IS" sz="900" dirty="0" err="1"/>
              <a:t>Codes</a:t>
            </a:r>
            <a:endParaRPr lang="is-IS" sz="900" dirty="0"/>
          </a:p>
          <a:p>
            <a:pPr lvl="1"/>
            <a:r>
              <a:rPr lang="is-IS" sz="900" dirty="0"/>
              <a:t>ISO 4217 — </a:t>
            </a:r>
            <a:r>
              <a:rPr lang="is-IS" sz="900" dirty="0" err="1"/>
              <a:t>Currency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endParaRPr lang="is-IS" sz="900" dirty="0"/>
          </a:p>
          <a:p>
            <a:pPr lvl="1"/>
            <a:r>
              <a:rPr lang="is-IS" sz="900" dirty="0"/>
              <a:t>UN/ECE </a:t>
            </a:r>
            <a:r>
              <a:rPr lang="is-IS" sz="900" dirty="0" err="1"/>
              <a:t>Recommendation</a:t>
            </a:r>
            <a:r>
              <a:rPr lang="is-IS" sz="900" dirty="0"/>
              <a:t> N°20 </a:t>
            </a:r>
            <a:r>
              <a:rPr lang="is-IS" sz="900" dirty="0" err="1"/>
              <a:t>and</a:t>
            </a:r>
            <a:r>
              <a:rPr lang="is-IS" sz="900" dirty="0"/>
              <a:t> UN/ECE </a:t>
            </a:r>
            <a:r>
              <a:rPr lang="is-IS" sz="900" dirty="0" err="1"/>
              <a:t>Recommendation</a:t>
            </a:r>
            <a:r>
              <a:rPr lang="is-IS" sz="900" dirty="0"/>
              <a:t> N°21 — </a:t>
            </a:r>
            <a:r>
              <a:rPr lang="is-IS" sz="900" dirty="0" err="1"/>
              <a:t>Unit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endParaRPr lang="is-IS" sz="900" dirty="0"/>
          </a:p>
          <a:p>
            <a:r>
              <a:rPr lang="is-IS" sz="1100" dirty="0" err="1"/>
              <a:t>Identification</a:t>
            </a:r>
            <a:endParaRPr lang="is-IS" sz="1100" dirty="0"/>
          </a:p>
          <a:p>
            <a:pPr lvl="1"/>
            <a:r>
              <a:rPr lang="is-IS" sz="900" dirty="0"/>
              <a:t>ISO/IEC 6523 — </a:t>
            </a:r>
            <a:r>
              <a:rPr lang="is-IS" sz="900" dirty="0" err="1"/>
              <a:t>Identifier</a:t>
            </a:r>
            <a:r>
              <a:rPr lang="is-IS" sz="900" dirty="0"/>
              <a:t> </a:t>
            </a:r>
            <a:r>
              <a:rPr lang="is-IS" sz="900" dirty="0" err="1"/>
              <a:t>schem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endParaRPr lang="is-IS" sz="900" dirty="0"/>
          </a:p>
          <a:p>
            <a:pPr lvl="1"/>
            <a:r>
              <a:rPr lang="is-IS" sz="900" dirty="0"/>
              <a:t>CEF EAS — </a:t>
            </a:r>
            <a:r>
              <a:rPr lang="is-IS" sz="900" dirty="0" err="1"/>
              <a:t>Electronic</a:t>
            </a:r>
            <a:r>
              <a:rPr lang="is-IS" sz="900" dirty="0"/>
              <a:t> </a:t>
            </a:r>
            <a:r>
              <a:rPr lang="is-IS" sz="900" dirty="0" err="1"/>
              <a:t>address</a:t>
            </a:r>
            <a:r>
              <a:rPr lang="is-IS" sz="900" dirty="0"/>
              <a:t> </a:t>
            </a:r>
            <a:r>
              <a:rPr lang="is-IS" sz="900" dirty="0" err="1"/>
              <a:t>scheme</a:t>
            </a:r>
            <a:r>
              <a:rPr lang="is-IS" sz="900" dirty="0"/>
              <a:t> </a:t>
            </a:r>
            <a:r>
              <a:rPr lang="is-IS" sz="900" dirty="0" err="1"/>
              <a:t>identifier</a:t>
            </a:r>
            <a:endParaRPr lang="is-IS" sz="900" dirty="0"/>
          </a:p>
          <a:p>
            <a:pPr lvl="1"/>
            <a:r>
              <a:rPr lang="is-IS" sz="900" dirty="0"/>
              <a:t>UNTDID 7143 — </a:t>
            </a:r>
            <a:r>
              <a:rPr lang="is-IS" sz="900" dirty="0" err="1"/>
              <a:t>Item</a:t>
            </a:r>
            <a:r>
              <a:rPr lang="is-IS" sz="900" dirty="0"/>
              <a:t> </a:t>
            </a:r>
            <a:r>
              <a:rPr lang="is-IS" sz="900" dirty="0" err="1"/>
              <a:t>type</a:t>
            </a:r>
            <a:r>
              <a:rPr lang="is-IS" sz="900" dirty="0"/>
              <a:t> </a:t>
            </a:r>
            <a:r>
              <a:rPr lang="is-IS" sz="900" dirty="0" err="1"/>
              <a:t>identification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endParaRPr lang="is-IS" sz="900" dirty="0"/>
          </a:p>
          <a:p>
            <a:r>
              <a:rPr lang="is-IS" sz="1100" dirty="0" err="1"/>
              <a:t>Costs</a:t>
            </a:r>
            <a:endParaRPr lang="is-IS" sz="1100" dirty="0"/>
          </a:p>
          <a:p>
            <a:pPr lvl="1"/>
            <a:r>
              <a:rPr lang="is-IS" sz="900" dirty="0"/>
              <a:t>UNTDID 5189 — </a:t>
            </a:r>
            <a:r>
              <a:rPr lang="is-IS" sz="900" dirty="0" err="1"/>
              <a:t>Allowanc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endParaRPr lang="is-IS" sz="900" dirty="0"/>
          </a:p>
          <a:p>
            <a:pPr lvl="1"/>
            <a:r>
              <a:rPr lang="is-IS" sz="900" dirty="0"/>
              <a:t>UNTDID 7161 — </a:t>
            </a:r>
            <a:r>
              <a:rPr lang="is-IS" sz="900" dirty="0" err="1"/>
              <a:t>Charg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endParaRPr lang="is-IS" sz="900" dirty="0"/>
          </a:p>
          <a:p>
            <a:r>
              <a:rPr lang="is-IS" sz="1100" dirty="0" err="1"/>
              <a:t>Qualifiers</a:t>
            </a:r>
            <a:endParaRPr lang="is-IS" sz="1100" dirty="0"/>
          </a:p>
          <a:p>
            <a:pPr lvl="1"/>
            <a:r>
              <a:rPr lang="is-IS" sz="900" dirty="0"/>
              <a:t>UNTDID 1001 — Document </a:t>
            </a:r>
            <a:r>
              <a:rPr lang="is-IS" sz="900" dirty="0" err="1"/>
              <a:t>type</a:t>
            </a:r>
            <a:endParaRPr lang="is-IS" sz="900" dirty="0"/>
          </a:p>
          <a:p>
            <a:pPr lvl="1"/>
            <a:r>
              <a:rPr lang="is-IS" sz="900" dirty="0"/>
              <a:t>UNTDID 1153 — </a:t>
            </a:r>
            <a:r>
              <a:rPr lang="is-IS" sz="900" dirty="0" err="1"/>
              <a:t>Referenc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r>
              <a:rPr lang="is-IS" sz="900" dirty="0"/>
              <a:t> </a:t>
            </a:r>
            <a:r>
              <a:rPr lang="is-IS" sz="900" dirty="0" err="1"/>
              <a:t>qualifier</a:t>
            </a:r>
            <a:endParaRPr lang="is-IS" sz="900" dirty="0"/>
          </a:p>
          <a:p>
            <a:pPr lvl="1"/>
            <a:r>
              <a:rPr lang="is-IS" sz="900" dirty="0"/>
              <a:t>UNTDID 2005/ UNTDID 2475 — </a:t>
            </a:r>
            <a:r>
              <a:rPr lang="is-IS" sz="900" dirty="0" err="1"/>
              <a:t>Event</a:t>
            </a:r>
            <a:r>
              <a:rPr lang="is-IS" sz="900" dirty="0"/>
              <a:t> </a:t>
            </a:r>
            <a:r>
              <a:rPr lang="is-IS" sz="900" dirty="0" err="1"/>
              <a:t>time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endParaRPr lang="is-IS" sz="900" dirty="0"/>
          </a:p>
          <a:p>
            <a:pPr lvl="1"/>
            <a:r>
              <a:rPr lang="is-IS" sz="900" dirty="0"/>
              <a:t>UNTDID 4451 — Text </a:t>
            </a:r>
            <a:r>
              <a:rPr lang="is-IS" sz="900" dirty="0" err="1"/>
              <a:t>subject</a:t>
            </a:r>
            <a:r>
              <a:rPr lang="is-IS" sz="900" dirty="0"/>
              <a:t> </a:t>
            </a:r>
            <a:r>
              <a:rPr lang="is-IS" sz="900" dirty="0" err="1"/>
              <a:t>qualifier</a:t>
            </a:r>
            <a:endParaRPr lang="is-IS" sz="900" dirty="0"/>
          </a:p>
          <a:p>
            <a:pPr lvl="1"/>
            <a:r>
              <a:rPr lang="is-IS" sz="900" dirty="0" err="1"/>
              <a:t>Mime</a:t>
            </a:r>
            <a:r>
              <a:rPr lang="is-IS" sz="900" dirty="0"/>
              <a:t> </a:t>
            </a:r>
            <a:r>
              <a:rPr lang="is-IS" sz="900" dirty="0" err="1"/>
              <a:t>typ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r>
              <a:rPr lang="is-IS" sz="900" dirty="0"/>
              <a:t> — </a:t>
            </a:r>
            <a:r>
              <a:rPr lang="is-IS" sz="900" dirty="0" err="1"/>
              <a:t>Mime</a:t>
            </a:r>
            <a:r>
              <a:rPr lang="is-IS" sz="900" dirty="0"/>
              <a:t> </a:t>
            </a:r>
            <a:r>
              <a:rPr lang="is-IS" sz="900" dirty="0" err="1"/>
              <a:t>codes</a:t>
            </a:r>
            <a:endParaRPr lang="is-IS" sz="900" dirty="0"/>
          </a:p>
          <a:p>
            <a:r>
              <a:rPr lang="is-IS" sz="1100" dirty="0" err="1"/>
              <a:t>Tax</a:t>
            </a:r>
            <a:r>
              <a:rPr lang="is-IS" sz="1100" dirty="0"/>
              <a:t> </a:t>
            </a:r>
            <a:r>
              <a:rPr lang="is-IS" sz="1100" dirty="0" err="1"/>
              <a:t>related</a:t>
            </a:r>
            <a:endParaRPr lang="is-IS" sz="1100" dirty="0"/>
          </a:p>
          <a:p>
            <a:pPr lvl="1"/>
            <a:r>
              <a:rPr lang="is-IS" sz="900" dirty="0"/>
              <a:t>VAT </a:t>
            </a:r>
            <a:r>
              <a:rPr lang="is-IS" sz="900" dirty="0" err="1"/>
              <a:t>Identifier</a:t>
            </a:r>
            <a:endParaRPr lang="is-IS" sz="900" dirty="0"/>
          </a:p>
          <a:p>
            <a:pPr lvl="1"/>
            <a:r>
              <a:rPr lang="is-IS" sz="900" dirty="0"/>
              <a:t>VAT </a:t>
            </a:r>
            <a:r>
              <a:rPr lang="is-IS" sz="900" dirty="0" err="1"/>
              <a:t>Category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endParaRPr lang="is-IS" sz="900" dirty="0"/>
          </a:p>
          <a:p>
            <a:pPr lvl="1"/>
            <a:r>
              <a:rPr lang="is-IS" sz="900" dirty="0"/>
              <a:t>UNTDID 5305  — </a:t>
            </a:r>
            <a:r>
              <a:rPr lang="is-IS" sz="900" dirty="0" err="1"/>
              <a:t>Duty</a:t>
            </a:r>
            <a:r>
              <a:rPr lang="is-IS" sz="900" dirty="0"/>
              <a:t> </a:t>
            </a:r>
            <a:r>
              <a:rPr lang="is-IS" sz="900" dirty="0" err="1"/>
              <a:t>or</a:t>
            </a:r>
            <a:r>
              <a:rPr lang="is-IS" sz="900" dirty="0"/>
              <a:t> </a:t>
            </a:r>
            <a:r>
              <a:rPr lang="is-IS" sz="900" dirty="0" err="1"/>
              <a:t>tax</a:t>
            </a:r>
            <a:r>
              <a:rPr lang="is-IS" sz="900" dirty="0"/>
              <a:t> </a:t>
            </a:r>
            <a:r>
              <a:rPr lang="is-IS" sz="900" dirty="0" err="1"/>
              <a:t>or</a:t>
            </a:r>
            <a:r>
              <a:rPr lang="is-IS" sz="900" dirty="0"/>
              <a:t> </a:t>
            </a:r>
            <a:r>
              <a:rPr lang="is-IS" sz="900" dirty="0" err="1"/>
              <a:t>fee</a:t>
            </a:r>
            <a:r>
              <a:rPr lang="is-IS" sz="900" dirty="0"/>
              <a:t> </a:t>
            </a:r>
            <a:r>
              <a:rPr lang="is-IS" sz="900" dirty="0" err="1"/>
              <a:t>category</a:t>
            </a:r>
            <a:endParaRPr lang="is-IS" sz="900" dirty="0"/>
          </a:p>
          <a:p>
            <a:pPr lvl="1"/>
            <a:r>
              <a:rPr lang="is-IS" sz="900" dirty="0"/>
              <a:t>CEF VATEX — VAT </a:t>
            </a:r>
            <a:r>
              <a:rPr lang="is-IS" sz="900" dirty="0" err="1"/>
              <a:t>exemption</a:t>
            </a:r>
            <a:r>
              <a:rPr lang="is-IS" sz="900" dirty="0"/>
              <a:t> </a:t>
            </a:r>
            <a:r>
              <a:rPr lang="is-IS" sz="900" dirty="0" err="1"/>
              <a:t>reason</a:t>
            </a:r>
            <a:r>
              <a:rPr lang="is-IS" sz="900" dirty="0"/>
              <a:t> </a:t>
            </a:r>
            <a:r>
              <a:rPr lang="is-IS" sz="900" dirty="0" err="1"/>
              <a:t>code</a:t>
            </a:r>
            <a:endParaRPr lang="is-IS" sz="900" dirty="0"/>
          </a:p>
          <a:p>
            <a:r>
              <a:rPr lang="is-IS" sz="1100" dirty="0" err="1"/>
              <a:t>Payment</a:t>
            </a:r>
            <a:endParaRPr lang="is-IS" sz="1100" dirty="0"/>
          </a:p>
          <a:p>
            <a:pPr lvl="1"/>
            <a:r>
              <a:rPr lang="is-IS" sz="900" dirty="0"/>
              <a:t>UNTDID 4461 — </a:t>
            </a:r>
            <a:r>
              <a:rPr lang="is-IS" sz="900" dirty="0" err="1"/>
              <a:t>Payment</a:t>
            </a:r>
            <a:r>
              <a:rPr lang="is-IS" sz="900" dirty="0"/>
              <a:t> </a:t>
            </a:r>
            <a:r>
              <a:rPr lang="is-IS" sz="900" dirty="0" err="1"/>
              <a:t>means</a:t>
            </a:r>
            <a:endParaRPr lang="is-IS" sz="900" dirty="0"/>
          </a:p>
          <a:p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42245680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6B3F67C-93C1-498C-95B0-CBE087D2D8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Topics to discuss for draft</a:t>
            </a:r>
            <a:endParaRPr lang="is-IS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BFDC0AB-5F39-4372-BC9A-CE42826503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94CA340D-312D-204F-893F-B70EFC62E153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8B77FD9-02E1-4F48-AE3E-C3382BC2AF0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GB" dirty="0"/>
              <a:t>Dividing of business terms into shared and aligned.</a:t>
            </a:r>
          </a:p>
          <a:p>
            <a:r>
              <a:rPr lang="en-GB" dirty="0"/>
              <a:t>Rules that apply to the shared content.</a:t>
            </a:r>
          </a:p>
          <a:p>
            <a:r>
              <a:rPr lang="en-GB" dirty="0"/>
              <a:t>Codes that apply to the shared content.</a:t>
            </a:r>
          </a:p>
          <a:p>
            <a:r>
              <a:rPr lang="en-GB" dirty="0"/>
              <a:t>Additional business terms</a:t>
            </a:r>
          </a:p>
          <a:p>
            <a:pPr lvl="1"/>
            <a:r>
              <a:rPr lang="en-GB" dirty="0"/>
              <a:t>Generally used but not in the EN.</a:t>
            </a:r>
          </a:p>
          <a:p>
            <a:pPr lvl="1"/>
            <a:r>
              <a:rPr lang="en-GB" dirty="0"/>
              <a:t>Distinct.</a:t>
            </a:r>
          </a:p>
          <a:p>
            <a:r>
              <a:rPr lang="en-GB" dirty="0"/>
              <a:t>Interoperability in the network</a:t>
            </a:r>
          </a:p>
          <a:p>
            <a:pPr lvl="1"/>
            <a:r>
              <a:rPr lang="en-GB" dirty="0"/>
              <a:t>SMP lookup.</a:t>
            </a:r>
          </a:p>
          <a:p>
            <a:pPr lvl="1"/>
            <a:r>
              <a:rPr lang="en-GB" dirty="0"/>
              <a:t>Mandatory principle.</a:t>
            </a:r>
          </a:p>
          <a:p>
            <a:pPr lvl="1"/>
            <a:r>
              <a:rPr lang="en-GB" dirty="0"/>
              <a:t>Preferences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55595017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5166B6-8919-46E1-AC88-94C525DDE8B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Hierarchical layering</a:t>
            </a:r>
            <a:endParaRPr lang="is-IS" dirty="0"/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AF658FC3-2B53-417C-B2F2-DD36CCEE5E47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825625"/>
          <a:ext cx="10515600" cy="435133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0191DEA-B4F0-49CA-986C-30A77EF1EB73}"/>
              </a:ext>
            </a:extLst>
          </p:cNvPr>
          <p:cNvCxnSpPr>
            <a:cxnSpLocks/>
          </p:cNvCxnSpPr>
          <p:nvPr/>
        </p:nvCxnSpPr>
        <p:spPr>
          <a:xfrm>
            <a:off x="8588364" y="1580120"/>
            <a:ext cx="1070791" cy="0"/>
          </a:xfrm>
          <a:prstGeom prst="line">
            <a:avLst/>
          </a:prstGeom>
          <a:ln>
            <a:solidFill>
              <a:schemeClr val="tx1"/>
            </a:solidFill>
            <a:headEnd type="arrow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1531D5B7-B22F-4CBD-982D-A23DC8E3414F}"/>
              </a:ext>
            </a:extLst>
          </p:cNvPr>
          <p:cNvSpPr txBox="1"/>
          <p:nvPr/>
        </p:nvSpPr>
        <p:spPr>
          <a:xfrm>
            <a:off x="6569093" y="1395454"/>
            <a:ext cx="192950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dirty="0"/>
              <a:t>Compliant relation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16478283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4B4873-CEA9-4B3D-97BA-CA6BC5DD144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Receiving restricted versions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6CEEDEC-1B65-4E68-87AD-0EF19CB1936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2343632"/>
          </a:xfrm>
        </p:spPr>
        <p:txBody>
          <a:bodyPr>
            <a:normAutofit fontScale="25000" lnSpcReduction="20000"/>
          </a:bodyPr>
          <a:lstStyle/>
          <a:p>
            <a:pPr lvl="0"/>
            <a:r>
              <a:rPr lang="en-GB" sz="8000" dirty="0"/>
              <a:t>It can be assumed that a receiver of a specification will accept and process any document that is a based on a restricted version of that specification.</a:t>
            </a:r>
          </a:p>
          <a:p>
            <a:pPr lvl="1"/>
            <a:r>
              <a:rPr lang="en-GB" sz="8000" dirty="0"/>
              <a:t>this is in fact the underlying principle behind EN 16931 accepting CIUS as compliant implementation. </a:t>
            </a:r>
          </a:p>
          <a:p>
            <a:r>
              <a:rPr lang="en-GB" sz="8000" dirty="0"/>
              <a:t>Using wildcard for registering receiving capacities.</a:t>
            </a:r>
          </a:p>
          <a:p>
            <a:pPr lvl="1"/>
            <a:r>
              <a:rPr lang="en-GB" sz="8000" dirty="0">
                <a:solidFill>
                  <a:srgbClr val="0070C0"/>
                </a:solidFill>
              </a:rPr>
              <a:t>urn:cen.eu:en16931</a:t>
            </a:r>
            <a:r>
              <a:rPr lang="en-GB" sz="8000" dirty="0">
                <a:solidFill>
                  <a:srgbClr val="00B050"/>
                </a:solidFill>
              </a:rPr>
              <a:t>#compliant#urn:fdc:peppol.eu:2017:poacc:billing:3.0</a:t>
            </a:r>
            <a:r>
              <a:rPr lang="en-GB" sz="8000" dirty="0">
                <a:solidFill>
                  <a:schemeClr val="accent4">
                    <a:lumMod val="75000"/>
                  </a:schemeClr>
                </a:solidFill>
              </a:rPr>
              <a:t>#compliant:</a:t>
            </a:r>
            <a:r>
              <a:rPr lang="en-GB" sz="11200" dirty="0">
                <a:solidFill>
                  <a:srgbClr val="FF0000"/>
                </a:solidFill>
              </a:rPr>
              <a:t>*</a:t>
            </a:r>
            <a:endParaRPr lang="en-GB" dirty="0"/>
          </a:p>
          <a:p>
            <a:pPr lvl="1"/>
            <a:endParaRPr lang="en-GB" dirty="0"/>
          </a:p>
          <a:p>
            <a:pPr marL="0" indent="0">
              <a:buNone/>
            </a:pPr>
            <a:endParaRPr lang="en-GB" dirty="0"/>
          </a:p>
          <a:p>
            <a:pPr marL="457200" lvl="1" indent="0">
              <a:buNone/>
            </a:pP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23575405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17C7C6D2-82B3-4652-954C-1DAB2D41C9E9}"/>
              </a:ext>
            </a:extLst>
          </p:cNvPr>
          <p:cNvPicPr/>
          <p:nvPr/>
        </p:nvPicPr>
        <p:blipFill>
          <a:blip r:embed="rId2"/>
          <a:stretch>
            <a:fillRect/>
          </a:stretch>
        </p:blipFill>
        <p:spPr>
          <a:xfrm>
            <a:off x="369871" y="318499"/>
            <a:ext cx="11342668" cy="62980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6340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81415A0-BE9D-42DE-857C-F4898630C3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Not all BIS are equal</a:t>
            </a:r>
            <a:endParaRPr lang="is-I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F2D2D46-1CFC-459A-BA62-C39B0AFA3D9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515136"/>
            <a:ext cx="10972800" cy="4062651"/>
          </a:xfrm>
        </p:spPr>
        <p:txBody>
          <a:bodyPr/>
          <a:lstStyle/>
          <a:p>
            <a:r>
              <a:rPr lang="en-GB" dirty="0"/>
              <a:t>Depending on conditions different receivers may prefer or require different restricted specifications.</a:t>
            </a:r>
          </a:p>
          <a:p>
            <a:pPr lvl="1"/>
            <a:r>
              <a:rPr lang="en-GB" dirty="0"/>
              <a:t>European receivers prefer EN16931 compliant invoices.</a:t>
            </a:r>
          </a:p>
          <a:p>
            <a:pPr lvl="1"/>
            <a:r>
              <a:rPr lang="en-GB" dirty="0"/>
              <a:t>European receivers only accept non EN16931 from non-EU senders.</a:t>
            </a:r>
          </a:p>
          <a:p>
            <a:pPr lvl="1"/>
            <a:r>
              <a:rPr lang="en-GB" dirty="0"/>
              <a:t>Same country trading parties prefer their country restricted invoices.</a:t>
            </a:r>
          </a:p>
          <a:p>
            <a:pPr lvl="1"/>
            <a:r>
              <a:rPr lang="en-GB" dirty="0"/>
              <a:t>A receiver may accept common BIS but prefer a particular restriction.</a:t>
            </a:r>
          </a:p>
          <a:p>
            <a:r>
              <a:rPr lang="en-GB" dirty="0"/>
              <a:t>Should the network provide for added information and control of what is exchanged?</a:t>
            </a:r>
          </a:p>
          <a:p>
            <a:pPr lvl="1"/>
            <a:r>
              <a:rPr lang="is-IS" dirty="0"/>
              <a:t>Party </a:t>
            </a:r>
            <a:r>
              <a:rPr lang="is-IS" dirty="0" err="1"/>
              <a:t>legal</a:t>
            </a:r>
            <a:r>
              <a:rPr lang="is-IS" dirty="0"/>
              <a:t> </a:t>
            </a:r>
            <a:r>
              <a:rPr lang="is-IS" dirty="0" err="1"/>
              <a:t>domain</a:t>
            </a:r>
            <a:r>
              <a:rPr lang="en-GB" dirty="0"/>
              <a:t>?</a:t>
            </a:r>
          </a:p>
          <a:p>
            <a:pPr lvl="1"/>
            <a:r>
              <a:rPr lang="en-GB" dirty="0"/>
              <a:t>Preferred BIS.</a:t>
            </a:r>
            <a:endParaRPr lang="is-IS" dirty="0"/>
          </a:p>
        </p:txBody>
      </p:sp>
    </p:spTree>
    <p:extLst>
      <p:ext uri="{BB962C8B-B14F-4D97-AF65-F5344CB8AC3E}">
        <p14:creationId xmlns:p14="http://schemas.microsoft.com/office/powerpoint/2010/main" val="35048515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w8pMx7HEEmvfs.1iS14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yRGoXhxUaH7gn26lLy4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y5uMuD5FU2ou9SedMer7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SNao3GqNEaRgPdGyl98m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rwR.lHyNE2uJyF9XUZ2vg"/>
</p:tagLst>
</file>

<file path=ppt/theme/theme1.xml><?xml version="1.0" encoding="utf-8"?>
<a:theme xmlns:a="http://schemas.openxmlformats.org/drawingml/2006/main" name="Office Theme">
  <a:themeElements>
    <a:clrScheme name="Peppol">
      <a:dk1>
        <a:srgbClr val="000000"/>
      </a:dk1>
      <a:lt1>
        <a:srgbClr val="FFFFFF"/>
      </a:lt1>
      <a:dk2>
        <a:srgbClr val="0D316D"/>
      </a:dk2>
      <a:lt2>
        <a:srgbClr val="F7F9FC"/>
      </a:lt2>
      <a:accent1>
        <a:srgbClr val="2279D6"/>
      </a:accent1>
      <a:accent2>
        <a:srgbClr val="00BAFF"/>
      </a:accent2>
      <a:accent3>
        <a:srgbClr val="0D316D"/>
      </a:accent3>
      <a:accent4>
        <a:srgbClr val="2279D6"/>
      </a:accent4>
      <a:accent5>
        <a:srgbClr val="1CBAF8"/>
      </a:accent5>
      <a:accent6>
        <a:srgbClr val="0D316D"/>
      </a:accent6>
      <a:hlink>
        <a:srgbClr val="2279D6"/>
      </a:hlink>
      <a:folHlink>
        <a:srgbClr val="1CBAF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01 — 2019-11-05 PEPPOL International Invoice Meeting Slides.pptx" id="{3507C38A-9DC2-477C-8BF3-084443C48FE9}" vid="{9CAECAA5-B618-4B72-9864-2DE50E3D8334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Peppol Power Point presentation</Template>
  <TotalTime>0</TotalTime>
  <Words>412</Words>
  <Application>Microsoft Office PowerPoint</Application>
  <PresentationFormat>Widescreen</PresentationFormat>
  <Paragraphs>74</Paragraphs>
  <Slides>8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3" baseType="lpstr">
      <vt:lpstr>Arial</vt:lpstr>
      <vt:lpstr>Calibri</vt:lpstr>
      <vt:lpstr>Symbol</vt:lpstr>
      <vt:lpstr>Office Theme</vt:lpstr>
      <vt:lpstr>think-cell Slide</vt:lpstr>
      <vt:lpstr>PowerPoint Presentation</vt:lpstr>
      <vt:lpstr>Rules</vt:lpstr>
      <vt:lpstr>Code lists</vt:lpstr>
      <vt:lpstr>Topics to discuss for draft</vt:lpstr>
      <vt:lpstr>Hierarchical layering</vt:lpstr>
      <vt:lpstr>Receiving restricted versions</vt:lpstr>
      <vt:lpstr>PowerPoint Presentation</vt:lpstr>
      <vt:lpstr>Not all BIS are equal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19-11-04T18:13:12Z</dcterms:created>
  <dcterms:modified xsi:type="dcterms:W3CDTF">2019-11-19T07:58:09Z</dcterms:modified>
</cp:coreProperties>
</file>